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9" r:id="rId2"/>
    <p:sldMasterId id="2147483675" r:id="rId3"/>
  </p:sldMasterIdLst>
  <p:notesMasterIdLst>
    <p:notesMasterId r:id="rId9"/>
  </p:notesMasterIdLst>
  <p:sldIdLst>
    <p:sldId id="4644" r:id="rId4"/>
    <p:sldId id="4647" r:id="rId5"/>
    <p:sldId id="4646" r:id="rId6"/>
    <p:sldId id="4648" r:id="rId7"/>
    <p:sldId id="4643" r:id="rId8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olas chevalier" initials="nc" lastIdx="1" clrIdx="0">
    <p:extLst>
      <p:ext uri="{19B8F6BF-5375-455C-9EA6-DF929625EA0E}">
        <p15:presenceInfo xmlns:p15="http://schemas.microsoft.com/office/powerpoint/2012/main" userId="S::nicolas.chevalier@gluendo.com::677dbc9f-a297-4ad6-b248-57777f1689e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F0"/>
    <a:srgbClr val="00B050"/>
    <a:srgbClr val="27348B"/>
    <a:srgbClr val="8064A2"/>
    <a:srgbClr val="00A19A"/>
    <a:srgbClr val="2F5196"/>
    <a:srgbClr val="DEDC00"/>
    <a:srgbClr val="6CC43E"/>
    <a:srgbClr val="00B06E"/>
    <a:srgbClr val="0086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593109-BEA0-4FE0-897C-47ED19C3ABF5}" v="179" dt="2021-02-03T14:09:30.3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092" autoAdjust="0"/>
    <p:restoredTop sz="94660"/>
  </p:normalViewPr>
  <p:slideViewPr>
    <p:cSldViewPr snapToGrid="0">
      <p:cViewPr>
        <p:scale>
          <a:sx n="66" d="100"/>
          <a:sy n="66" d="100"/>
        </p:scale>
        <p:origin x="1119" y="10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736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las chevalier" userId="677dbc9f-a297-4ad6-b248-57777f1689e8" providerId="ADAL" clId="{DB593109-BEA0-4FE0-897C-47ED19C3ABF5}"/>
    <pc:docChg chg="undo custSel mod addSld delSld modSld sldOrd">
      <pc:chgData name="nicolas chevalier" userId="677dbc9f-a297-4ad6-b248-57777f1689e8" providerId="ADAL" clId="{DB593109-BEA0-4FE0-897C-47ED19C3ABF5}" dt="2021-02-03T14:14:51.188" v="1829" actId="1076"/>
      <pc:docMkLst>
        <pc:docMk/>
      </pc:docMkLst>
      <pc:sldChg chg="addSp delSp modSp mod">
        <pc:chgData name="nicolas chevalier" userId="677dbc9f-a297-4ad6-b248-57777f1689e8" providerId="ADAL" clId="{DB593109-BEA0-4FE0-897C-47ED19C3ABF5}" dt="2021-02-03T14:14:12.283" v="1827" actId="20577"/>
        <pc:sldMkLst>
          <pc:docMk/>
          <pc:sldMk cId="757630478" sldId="4643"/>
        </pc:sldMkLst>
        <pc:spChg chg="mod">
          <ac:chgData name="nicolas chevalier" userId="677dbc9f-a297-4ad6-b248-57777f1689e8" providerId="ADAL" clId="{DB593109-BEA0-4FE0-897C-47ED19C3ABF5}" dt="2021-02-03T14:14:12.283" v="1827" actId="20577"/>
          <ac:spMkLst>
            <pc:docMk/>
            <pc:sldMk cId="757630478" sldId="4643"/>
            <ac:spMk id="4" creationId="{E1501325-EA2D-4DEE-914E-4E4BEE042825}"/>
          </ac:spMkLst>
        </pc:spChg>
        <pc:spChg chg="mod">
          <ac:chgData name="nicolas chevalier" userId="677dbc9f-a297-4ad6-b248-57777f1689e8" providerId="ADAL" clId="{DB593109-BEA0-4FE0-897C-47ED19C3ABF5}" dt="2021-02-03T14:13:52.597" v="1823" actId="2711"/>
          <ac:spMkLst>
            <pc:docMk/>
            <pc:sldMk cId="757630478" sldId="4643"/>
            <ac:spMk id="5" creationId="{C9296000-C93A-46F8-BA73-03A51F37A2E8}"/>
          </ac:spMkLst>
        </pc:spChg>
        <pc:spChg chg="del">
          <ac:chgData name="nicolas chevalier" userId="677dbc9f-a297-4ad6-b248-57777f1689e8" providerId="ADAL" clId="{DB593109-BEA0-4FE0-897C-47ED19C3ABF5}" dt="2021-02-03T14:04:16.066" v="1341" actId="478"/>
          <ac:spMkLst>
            <pc:docMk/>
            <pc:sldMk cId="757630478" sldId="4643"/>
            <ac:spMk id="8" creationId="{3430D8BA-2783-4247-A5CC-BC7A759A21B3}"/>
          </ac:spMkLst>
        </pc:spChg>
        <pc:spChg chg="add mod">
          <ac:chgData name="nicolas chevalier" userId="677dbc9f-a297-4ad6-b248-57777f1689e8" providerId="ADAL" clId="{DB593109-BEA0-4FE0-897C-47ED19C3ABF5}" dt="2021-02-03T14:12:40.911" v="1764" actId="1076"/>
          <ac:spMkLst>
            <pc:docMk/>
            <pc:sldMk cId="757630478" sldId="4643"/>
            <ac:spMk id="12" creationId="{8ABF7019-CD7F-4AA8-8D00-3464E482715E}"/>
          </ac:spMkLst>
        </pc:spChg>
        <pc:spChg chg="add mod">
          <ac:chgData name="nicolas chevalier" userId="677dbc9f-a297-4ad6-b248-57777f1689e8" providerId="ADAL" clId="{DB593109-BEA0-4FE0-897C-47ED19C3ABF5}" dt="2021-02-03T14:12:30.182" v="1763" actId="20577"/>
          <ac:spMkLst>
            <pc:docMk/>
            <pc:sldMk cId="757630478" sldId="4643"/>
            <ac:spMk id="13" creationId="{9E9210AC-5CA0-4D40-99DC-A6777ECA46CE}"/>
          </ac:spMkLst>
        </pc:spChg>
        <pc:spChg chg="del mod">
          <ac:chgData name="nicolas chevalier" userId="677dbc9f-a297-4ad6-b248-57777f1689e8" providerId="ADAL" clId="{DB593109-BEA0-4FE0-897C-47ED19C3ABF5}" dt="2021-02-03T14:04:11.113" v="1338" actId="478"/>
          <ac:spMkLst>
            <pc:docMk/>
            <pc:sldMk cId="757630478" sldId="4643"/>
            <ac:spMk id="14" creationId="{FD3E1596-ABFD-49CD-8783-052F50477480}"/>
          </ac:spMkLst>
        </pc:spChg>
        <pc:picChg chg="mod">
          <ac:chgData name="nicolas chevalier" userId="677dbc9f-a297-4ad6-b248-57777f1689e8" providerId="ADAL" clId="{DB593109-BEA0-4FE0-897C-47ED19C3ABF5}" dt="2021-02-03T14:13:22.856" v="1813" actId="1076"/>
          <ac:picMkLst>
            <pc:docMk/>
            <pc:sldMk cId="757630478" sldId="4643"/>
            <ac:picMk id="2" creationId="{0C22FB05-86A7-4DAA-89A9-FD58B9A6A07B}"/>
          </ac:picMkLst>
        </pc:picChg>
        <pc:picChg chg="del mod">
          <ac:chgData name="nicolas chevalier" userId="677dbc9f-a297-4ad6-b248-57777f1689e8" providerId="ADAL" clId="{DB593109-BEA0-4FE0-897C-47ED19C3ABF5}" dt="2021-02-03T14:05:59.497" v="1395" actId="478"/>
          <ac:picMkLst>
            <pc:docMk/>
            <pc:sldMk cId="757630478" sldId="4643"/>
            <ac:picMk id="6" creationId="{DF34D169-9D89-4C90-BD68-4F785E864D7E}"/>
          </ac:picMkLst>
        </pc:picChg>
        <pc:picChg chg="add del">
          <ac:chgData name="nicolas chevalier" userId="677dbc9f-a297-4ad6-b248-57777f1689e8" providerId="ADAL" clId="{DB593109-BEA0-4FE0-897C-47ED19C3ABF5}" dt="2021-02-03T14:04:13.020" v="1339" actId="478"/>
          <ac:picMkLst>
            <pc:docMk/>
            <pc:sldMk cId="757630478" sldId="4643"/>
            <ac:picMk id="7" creationId="{B351B71E-AE22-4321-B84C-DB4C47590ACD}"/>
          </ac:picMkLst>
        </pc:picChg>
        <pc:picChg chg="del">
          <ac:chgData name="nicolas chevalier" userId="677dbc9f-a297-4ad6-b248-57777f1689e8" providerId="ADAL" clId="{DB593109-BEA0-4FE0-897C-47ED19C3ABF5}" dt="2021-02-03T14:04:13.020" v="1339" actId="478"/>
          <ac:picMkLst>
            <pc:docMk/>
            <pc:sldMk cId="757630478" sldId="4643"/>
            <ac:picMk id="9" creationId="{4DEE3033-E054-49A5-81BD-283C75F03651}"/>
          </ac:picMkLst>
        </pc:picChg>
        <pc:picChg chg="add mod">
          <ac:chgData name="nicolas chevalier" userId="677dbc9f-a297-4ad6-b248-57777f1689e8" providerId="ADAL" clId="{DB593109-BEA0-4FE0-897C-47ED19C3ABF5}" dt="2021-02-03T14:12:43.283" v="1765" actId="1076"/>
          <ac:picMkLst>
            <pc:docMk/>
            <pc:sldMk cId="757630478" sldId="4643"/>
            <ac:picMk id="15" creationId="{71F241E0-CD22-48AE-9EC5-272E03749342}"/>
          </ac:picMkLst>
        </pc:picChg>
        <pc:cxnChg chg="del">
          <ac:chgData name="nicolas chevalier" userId="677dbc9f-a297-4ad6-b248-57777f1689e8" providerId="ADAL" clId="{DB593109-BEA0-4FE0-897C-47ED19C3ABF5}" dt="2021-02-03T14:04:14.750" v="1340" actId="478"/>
          <ac:cxnSpMkLst>
            <pc:docMk/>
            <pc:sldMk cId="757630478" sldId="4643"/>
            <ac:cxnSpMk id="82" creationId="{D076EED6-5A96-401C-A063-C9E47FE29A03}"/>
          </ac:cxnSpMkLst>
        </pc:cxnChg>
      </pc:sldChg>
      <pc:sldChg chg="addSp delSp modSp new mod ord">
        <pc:chgData name="nicolas chevalier" userId="677dbc9f-a297-4ad6-b248-57777f1689e8" providerId="ADAL" clId="{DB593109-BEA0-4FE0-897C-47ED19C3ABF5}" dt="2021-02-03T13:34:59.123" v="767" actId="478"/>
        <pc:sldMkLst>
          <pc:docMk/>
          <pc:sldMk cId="783724235" sldId="4644"/>
        </pc:sldMkLst>
        <pc:spChg chg="add 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" creationId="{94CB9015-476D-4385-86CF-F97138281D8E}"/>
          </ac:spMkLst>
        </pc:spChg>
        <pc:spChg chg="add mod">
          <ac:chgData name="nicolas chevalier" userId="677dbc9f-a297-4ad6-b248-57777f1689e8" providerId="ADAL" clId="{DB593109-BEA0-4FE0-897C-47ED19C3ABF5}" dt="2021-02-03T13:14:10.502" v="326" actId="20577"/>
          <ac:spMkLst>
            <pc:docMk/>
            <pc:sldMk cId="783724235" sldId="4644"/>
            <ac:spMk id="3" creationId="{B36DAA91-54CB-4753-9A9C-6EDF21D09694}"/>
          </ac:spMkLst>
        </pc:spChg>
        <pc:spChg chg="add del mod ord">
          <ac:chgData name="nicolas chevalier" userId="677dbc9f-a297-4ad6-b248-57777f1689e8" providerId="ADAL" clId="{DB593109-BEA0-4FE0-897C-47ED19C3ABF5}" dt="2021-02-03T12:57:59.820" v="180" actId="478"/>
          <ac:spMkLst>
            <pc:docMk/>
            <pc:sldMk cId="783724235" sldId="4644"/>
            <ac:spMk id="4" creationId="{265D733A-ABC8-4E97-B83C-C400CCE15B4E}"/>
          </ac:spMkLst>
        </pc:spChg>
        <pc:spChg chg="del mod topLvl">
          <ac:chgData name="nicolas chevalier" userId="677dbc9f-a297-4ad6-b248-57777f1689e8" providerId="ADAL" clId="{DB593109-BEA0-4FE0-897C-47ED19C3ABF5}" dt="2021-02-02T09:18:02.545" v="50" actId="478"/>
          <ac:spMkLst>
            <pc:docMk/>
            <pc:sldMk cId="783724235" sldId="4644"/>
            <ac:spMk id="8" creationId="{E564EDC5-F6CD-4A45-A2B1-210EDD35E41B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9" creationId="{7D257D0E-A723-4909-A326-2C1953DC03BC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0" creationId="{938C0EB3-18FB-4497-8902-7C5CB542B995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1" creationId="{8EF6888E-BAF1-4211-9073-08142DD8200F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2" creationId="{46C4CD97-9A70-4913-9F0D-9CE42A461E79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3" creationId="{4EB9BFAC-E65A-453A-A9E6-645196DC5688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4" creationId="{5D43A68B-483C-43AB-B6CF-D81699D21235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5" creationId="{47E45A0B-7499-4C6E-B904-4D72FC770823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6" creationId="{B427EBB7-A8AE-43C2-BA91-06B81E1D27D8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7" creationId="{0BB783B6-3BF0-4028-83B8-E32732B45EC3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8" creationId="{907276D1-D5F5-4A3D-A4C8-76ED371A249F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19" creationId="{DB32AE94-233B-499B-867F-7E2B2157E9C0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0" creationId="{2188A1EF-CD84-410F-BAB0-D23AE31488E9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1" creationId="{29B13FFE-0C18-468E-A328-73F7D71497D3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2" creationId="{1966DEC9-F1AC-4F2F-8EFE-763B2D1BFE61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3" creationId="{CEF6102B-16CE-4CF6-87C3-FC98B4FDB278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4" creationId="{02075BEC-C48B-490D-9296-D0B7B073FD3A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5" creationId="{6D38F7F2-BDC2-40C7-8C02-AD54EEA8CCC5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6" creationId="{0F250177-ED44-42E7-8E31-5A822E232FDF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7" creationId="{37A9267D-8B8A-4CA5-BDD5-F404BA062DCA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8" creationId="{A0233882-5CFC-41E2-9999-3BDF03042D6F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29" creationId="{F743FA96-15B6-4AC6-9044-52A2D0F88BCB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30" creationId="{2C812935-005C-401E-AF73-5014E832A023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31" creationId="{065E70D4-B4E4-406C-B019-2D414281081D}"/>
          </ac:spMkLst>
        </pc:spChg>
        <pc:spChg chg="mod">
          <ac:chgData name="nicolas chevalier" userId="677dbc9f-a297-4ad6-b248-57777f1689e8" providerId="ADAL" clId="{DB593109-BEA0-4FE0-897C-47ED19C3ABF5}" dt="2021-02-02T09:22:44.488" v="140" actId="1076"/>
          <ac:spMkLst>
            <pc:docMk/>
            <pc:sldMk cId="783724235" sldId="4644"/>
            <ac:spMk id="32" creationId="{05ABAD59-262F-4834-A45B-7F72E56BAFE4}"/>
          </ac:spMkLst>
        </pc:spChg>
        <pc:spChg chg="add del mod">
          <ac:chgData name="nicolas chevalier" userId="677dbc9f-a297-4ad6-b248-57777f1689e8" providerId="ADAL" clId="{DB593109-BEA0-4FE0-897C-47ED19C3ABF5}" dt="2021-02-02T09:22:31.304" v="134" actId="478"/>
          <ac:spMkLst>
            <pc:docMk/>
            <pc:sldMk cId="783724235" sldId="4644"/>
            <ac:spMk id="33" creationId="{B0203FC1-ADB7-4387-BBEB-DDA8619E4B84}"/>
          </ac:spMkLst>
        </pc:spChg>
        <pc:spChg chg="add del mod">
          <ac:chgData name="nicolas chevalier" userId="677dbc9f-a297-4ad6-b248-57777f1689e8" providerId="ADAL" clId="{DB593109-BEA0-4FE0-897C-47ED19C3ABF5}" dt="2021-02-02T09:22:26.836" v="132" actId="478"/>
          <ac:spMkLst>
            <pc:docMk/>
            <pc:sldMk cId="783724235" sldId="4644"/>
            <ac:spMk id="34" creationId="{B9A60058-74A1-4181-9C39-40323F0DCF9D}"/>
          </ac:spMkLst>
        </pc:spChg>
        <pc:spChg chg="add del mod ord">
          <ac:chgData name="nicolas chevalier" userId="677dbc9f-a297-4ad6-b248-57777f1689e8" providerId="ADAL" clId="{DB593109-BEA0-4FE0-897C-47ED19C3ABF5}" dt="2021-02-02T09:24:22.672" v="151" actId="478"/>
          <ac:spMkLst>
            <pc:docMk/>
            <pc:sldMk cId="783724235" sldId="4644"/>
            <ac:spMk id="37" creationId="{24D2039A-EEC7-44CA-9D45-78A9E51ACA9D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42" creationId="{8458F6A8-7758-4863-9A7D-A2A53B2018B0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43" creationId="{A8A2B8BE-47C9-4EE8-BE2B-8DF2DD16C3F4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44" creationId="{CF3DFF10-53AA-429F-A3A8-16898C2980E2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45" creationId="{E0AC28BF-7E85-4121-9CB5-EB2A10EFE0D0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46" creationId="{473EED9C-87BA-4CAB-9FEE-E5302C550D7A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47" creationId="{BF6802B1-DDFA-4374-87C9-FAF8F1EC9D15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48" creationId="{CD70F91D-2276-473D-BF88-2F549BDC0CEA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49" creationId="{80A46461-E69C-40F1-A312-29F14C6801BB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0" creationId="{9567DEA5-D349-47D8-883F-523FE0CBCC68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1" creationId="{7540E347-75D2-4FCB-840F-166165496C9C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2" creationId="{94FDF736-9331-4BCE-9209-63332CB4E0AC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3" creationId="{5BFCF76D-4F54-4D42-BAA8-63E7841BF5C8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4" creationId="{39E46CB7-DFD2-4E6D-B2C1-6A9019917080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5" creationId="{6C192138-B3B7-41EF-A5CD-8764D7A1B8C1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6" creationId="{1D875028-8004-4CF0-BDC0-6367E5D17E1A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7" creationId="{34C69557-84AA-4167-9A5C-EE98D8ED8E9D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8" creationId="{971CD88F-481C-4C6D-B88F-CD2D1F34A2EE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59" creationId="{7398CCDC-9798-4BE9-B4D9-85E89D269718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60" creationId="{9700505B-106A-4E93-A82B-43E930488748}"/>
          </ac:spMkLst>
        </pc:spChg>
        <pc:spChg chg="mod">
          <ac:chgData name="nicolas chevalier" userId="677dbc9f-a297-4ad6-b248-57777f1689e8" providerId="ADAL" clId="{DB593109-BEA0-4FE0-897C-47ED19C3ABF5}" dt="2021-02-02T09:23:55.828" v="142"/>
          <ac:spMkLst>
            <pc:docMk/>
            <pc:sldMk cId="783724235" sldId="4644"/>
            <ac:spMk id="61" creationId="{9FF1E093-D70F-4AB1-9583-D0F7FF9C2E5F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65" creationId="{ECC3D7EF-7AE3-4769-9C48-B079E1D1DB10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66" creationId="{2634F69E-1C10-41F4-8E11-81B6A86D3CCD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67" creationId="{F4E4DD37-92D2-486A-B5C2-68BEFD089EB8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68" creationId="{2D983A51-0907-4015-8C49-31A33F7BF0A8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69" creationId="{8DA5A671-CFF2-4633-A6A6-6E44937949D5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0" creationId="{9156B000-E5E7-4CCD-AF94-F92F0F65EF1C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1" creationId="{BEA0184F-3BED-44EC-949B-E96F5DA5BBAE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2" creationId="{D8CD8CA7-705C-4E0C-8802-1EA0B4BBC0E3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3" creationId="{74B9BAE8-8F01-4935-821E-6EB3AD6CA9E7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4" creationId="{8E1C67E8-1DDE-4E9A-8FD2-0623878AFD9F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5" creationId="{41B62B69-EED2-48BB-AC02-256C91AD281D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6" creationId="{DCC1D034-959F-4FE1-8367-0A61E365C0BB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7" creationId="{42D05B20-68D1-49B6-976B-A797BD377499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8" creationId="{ED781DA0-BB0D-40BE-AE6F-9974B2147886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79" creationId="{DA8574BE-56B1-48A0-91DC-E1D6B37CC44B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80" creationId="{F384FD80-3743-4073-B72F-093A7217CF75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81" creationId="{61F73342-694B-40A5-B3E8-842F4882C659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82" creationId="{6C0F84C6-890F-4F29-BB8F-A352011E43A3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83" creationId="{8482E999-D4AC-43B7-9CEE-0C3E4A97EDED}"/>
          </ac:spMkLst>
        </pc:spChg>
        <pc:spChg chg="mod">
          <ac:chgData name="nicolas chevalier" userId="677dbc9f-a297-4ad6-b248-57777f1689e8" providerId="ADAL" clId="{DB593109-BEA0-4FE0-897C-47ED19C3ABF5}" dt="2021-02-03T13:01:59.332" v="184" actId="1076"/>
          <ac:spMkLst>
            <pc:docMk/>
            <pc:sldMk cId="783724235" sldId="4644"/>
            <ac:spMk id="84" creationId="{5D751EDF-087C-43D2-BDCE-A0FA7B21D802}"/>
          </ac:spMkLst>
        </pc:spChg>
        <pc:spChg chg="add del mod">
          <ac:chgData name="nicolas chevalier" userId="677dbc9f-a297-4ad6-b248-57777f1689e8" providerId="ADAL" clId="{DB593109-BEA0-4FE0-897C-47ED19C3ABF5}" dt="2021-02-03T13:02:03.263" v="186"/>
          <ac:spMkLst>
            <pc:docMk/>
            <pc:sldMk cId="783724235" sldId="4644"/>
            <ac:spMk id="85" creationId="{5825D101-8CAC-43ED-A691-88345A3DD8FB}"/>
          </ac:spMkLst>
        </pc:spChg>
        <pc:spChg chg="add del mod">
          <ac:chgData name="nicolas chevalier" userId="677dbc9f-a297-4ad6-b248-57777f1689e8" providerId="ADAL" clId="{DB593109-BEA0-4FE0-897C-47ED19C3ABF5}" dt="2021-02-03T13:02:03.263" v="186"/>
          <ac:spMkLst>
            <pc:docMk/>
            <pc:sldMk cId="783724235" sldId="4644"/>
            <ac:spMk id="86" creationId="{466B16DF-613E-47F7-8455-95DDC733B8CC}"/>
          </ac:spMkLst>
        </pc:spChg>
        <pc:spChg chg="add del mod">
          <ac:chgData name="nicolas chevalier" userId="677dbc9f-a297-4ad6-b248-57777f1689e8" providerId="ADAL" clId="{DB593109-BEA0-4FE0-897C-47ED19C3ABF5}" dt="2021-02-03T13:18:32.538" v="479" actId="478"/>
          <ac:spMkLst>
            <pc:docMk/>
            <pc:sldMk cId="783724235" sldId="4644"/>
            <ac:spMk id="87" creationId="{16773D37-270D-4CDC-A29B-09F3069F150A}"/>
          </ac:spMkLst>
        </pc:spChg>
        <pc:spChg chg="add del mod">
          <ac:chgData name="nicolas chevalier" userId="677dbc9f-a297-4ad6-b248-57777f1689e8" providerId="ADAL" clId="{DB593109-BEA0-4FE0-897C-47ED19C3ABF5}" dt="2021-02-03T13:18:32.538" v="479" actId="478"/>
          <ac:spMkLst>
            <pc:docMk/>
            <pc:sldMk cId="783724235" sldId="4644"/>
            <ac:spMk id="88" creationId="{BA8F066C-8C30-49E5-9BF7-352AF46DE149}"/>
          </ac:spMkLst>
        </pc:spChg>
        <pc:spChg chg="add mod">
          <ac:chgData name="nicolas chevalier" userId="677dbc9f-a297-4ad6-b248-57777f1689e8" providerId="ADAL" clId="{DB593109-BEA0-4FE0-897C-47ED19C3ABF5}" dt="2021-02-03T13:12:39.922" v="314" actId="207"/>
          <ac:spMkLst>
            <pc:docMk/>
            <pc:sldMk cId="783724235" sldId="4644"/>
            <ac:spMk id="90" creationId="{1472FC93-D5EC-421E-BDE7-BC8FF1DEAF51}"/>
          </ac:spMkLst>
        </pc:spChg>
        <pc:spChg chg="add mod">
          <ac:chgData name="nicolas chevalier" userId="677dbc9f-a297-4ad6-b248-57777f1689e8" providerId="ADAL" clId="{DB593109-BEA0-4FE0-897C-47ED19C3ABF5}" dt="2021-02-03T13:34:51.518" v="763" actId="1076"/>
          <ac:spMkLst>
            <pc:docMk/>
            <pc:sldMk cId="783724235" sldId="4644"/>
            <ac:spMk id="92" creationId="{056A50C1-6280-44EB-BCFF-883D460DD252}"/>
          </ac:spMkLst>
        </pc:spChg>
        <pc:spChg chg="add del mod">
          <ac:chgData name="nicolas chevalier" userId="677dbc9f-a297-4ad6-b248-57777f1689e8" providerId="ADAL" clId="{DB593109-BEA0-4FE0-897C-47ED19C3ABF5}" dt="2021-02-03T13:18:19.263" v="474"/>
          <ac:spMkLst>
            <pc:docMk/>
            <pc:sldMk cId="783724235" sldId="4644"/>
            <ac:spMk id="93" creationId="{F4D24E30-E183-4EDA-8BE4-94BE50890437}"/>
          </ac:spMkLst>
        </pc:spChg>
        <pc:spChg chg="add del mod">
          <ac:chgData name="nicolas chevalier" userId="677dbc9f-a297-4ad6-b248-57777f1689e8" providerId="ADAL" clId="{DB593109-BEA0-4FE0-897C-47ED19C3ABF5}" dt="2021-02-03T13:18:19.263" v="474"/>
          <ac:spMkLst>
            <pc:docMk/>
            <pc:sldMk cId="783724235" sldId="4644"/>
            <ac:spMk id="94" creationId="{1281C7DD-BE01-435B-8011-6405B097C2FA}"/>
          </ac:spMkLst>
        </pc:spChg>
        <pc:spChg chg="add del mod">
          <ac:chgData name="nicolas chevalier" userId="677dbc9f-a297-4ad6-b248-57777f1689e8" providerId="ADAL" clId="{DB593109-BEA0-4FE0-897C-47ED19C3ABF5}" dt="2021-02-03T13:18:19.263" v="474"/>
          <ac:spMkLst>
            <pc:docMk/>
            <pc:sldMk cId="783724235" sldId="4644"/>
            <ac:spMk id="95" creationId="{51BA84DF-2D97-4B36-83F6-3FBFBD6A3D5D}"/>
          </ac:spMkLst>
        </pc:spChg>
        <pc:spChg chg="add del mod">
          <ac:chgData name="nicolas chevalier" userId="677dbc9f-a297-4ad6-b248-57777f1689e8" providerId="ADAL" clId="{DB593109-BEA0-4FE0-897C-47ED19C3ABF5}" dt="2021-02-03T13:18:19.263" v="474"/>
          <ac:spMkLst>
            <pc:docMk/>
            <pc:sldMk cId="783724235" sldId="4644"/>
            <ac:spMk id="96" creationId="{86F7FE8F-74D3-4E98-BAE4-64603D72E551}"/>
          </ac:spMkLst>
        </pc:spChg>
        <pc:spChg chg="add del mod">
          <ac:chgData name="nicolas chevalier" userId="677dbc9f-a297-4ad6-b248-57777f1689e8" providerId="ADAL" clId="{DB593109-BEA0-4FE0-897C-47ED19C3ABF5}" dt="2021-02-03T13:18:19.263" v="474"/>
          <ac:spMkLst>
            <pc:docMk/>
            <pc:sldMk cId="783724235" sldId="4644"/>
            <ac:spMk id="97" creationId="{7735CC07-2AB6-4DA4-A7AE-2CCEDDC25B6A}"/>
          </ac:spMkLst>
        </pc:spChg>
        <pc:spChg chg="add del mod">
          <ac:chgData name="nicolas chevalier" userId="677dbc9f-a297-4ad6-b248-57777f1689e8" providerId="ADAL" clId="{DB593109-BEA0-4FE0-897C-47ED19C3ABF5}" dt="2021-02-03T13:18:22.295" v="476"/>
          <ac:spMkLst>
            <pc:docMk/>
            <pc:sldMk cId="783724235" sldId="4644"/>
            <ac:spMk id="99" creationId="{09B5FC61-9CAC-48D8-B545-F62B80FD4439}"/>
          </ac:spMkLst>
        </pc:spChg>
        <pc:spChg chg="add del mod">
          <ac:chgData name="nicolas chevalier" userId="677dbc9f-a297-4ad6-b248-57777f1689e8" providerId="ADAL" clId="{DB593109-BEA0-4FE0-897C-47ED19C3ABF5}" dt="2021-02-03T13:18:22.295" v="476"/>
          <ac:spMkLst>
            <pc:docMk/>
            <pc:sldMk cId="783724235" sldId="4644"/>
            <ac:spMk id="100" creationId="{290F37A3-719A-438A-A2D4-0095CD30FA3A}"/>
          </ac:spMkLst>
        </pc:spChg>
        <pc:spChg chg="add del mod">
          <ac:chgData name="nicolas chevalier" userId="677dbc9f-a297-4ad6-b248-57777f1689e8" providerId="ADAL" clId="{DB593109-BEA0-4FE0-897C-47ED19C3ABF5}" dt="2021-02-03T13:18:22.295" v="476"/>
          <ac:spMkLst>
            <pc:docMk/>
            <pc:sldMk cId="783724235" sldId="4644"/>
            <ac:spMk id="101" creationId="{F54E908B-5622-4529-AE4D-669C274193F3}"/>
          </ac:spMkLst>
        </pc:spChg>
        <pc:spChg chg="add del mod">
          <ac:chgData name="nicolas chevalier" userId="677dbc9f-a297-4ad6-b248-57777f1689e8" providerId="ADAL" clId="{DB593109-BEA0-4FE0-897C-47ED19C3ABF5}" dt="2021-02-03T13:18:22.295" v="476"/>
          <ac:spMkLst>
            <pc:docMk/>
            <pc:sldMk cId="783724235" sldId="4644"/>
            <ac:spMk id="102" creationId="{FDA14E82-DA1D-4E39-A1A2-5754C4A6B11C}"/>
          </ac:spMkLst>
        </pc:spChg>
        <pc:spChg chg="add del mod">
          <ac:chgData name="nicolas chevalier" userId="677dbc9f-a297-4ad6-b248-57777f1689e8" providerId="ADAL" clId="{DB593109-BEA0-4FE0-897C-47ED19C3ABF5}" dt="2021-02-03T13:18:22.295" v="476"/>
          <ac:spMkLst>
            <pc:docMk/>
            <pc:sldMk cId="783724235" sldId="4644"/>
            <ac:spMk id="103" creationId="{59570B7F-8565-4953-A915-27C297259E33}"/>
          </ac:spMkLst>
        </pc:spChg>
        <pc:spChg chg="add del mod">
          <ac:chgData name="nicolas chevalier" userId="677dbc9f-a297-4ad6-b248-57777f1689e8" providerId="ADAL" clId="{DB593109-BEA0-4FE0-897C-47ED19C3ABF5}" dt="2021-02-03T13:25:50.057" v="663" actId="478"/>
          <ac:spMkLst>
            <pc:docMk/>
            <pc:sldMk cId="783724235" sldId="4644"/>
            <ac:spMk id="105" creationId="{A064BF86-87AB-4C08-BE6B-132F5F2150AD}"/>
          </ac:spMkLst>
        </pc:spChg>
        <pc:spChg chg="add del mod">
          <ac:chgData name="nicolas chevalier" userId="677dbc9f-a297-4ad6-b248-57777f1689e8" providerId="ADAL" clId="{DB593109-BEA0-4FE0-897C-47ED19C3ABF5}" dt="2021-02-03T13:34:59.123" v="767" actId="478"/>
          <ac:spMkLst>
            <pc:docMk/>
            <pc:sldMk cId="783724235" sldId="4644"/>
            <ac:spMk id="106" creationId="{5ABFA860-5104-440B-836A-9BF9B5807C3E}"/>
          </ac:spMkLst>
        </pc:spChg>
        <pc:spChg chg="add del mod">
          <ac:chgData name="nicolas chevalier" userId="677dbc9f-a297-4ad6-b248-57777f1689e8" providerId="ADAL" clId="{DB593109-BEA0-4FE0-897C-47ED19C3ABF5}" dt="2021-02-03T13:34:59.123" v="767" actId="478"/>
          <ac:spMkLst>
            <pc:docMk/>
            <pc:sldMk cId="783724235" sldId="4644"/>
            <ac:spMk id="107" creationId="{63787F76-A3CB-4344-8E95-F099A887D2BF}"/>
          </ac:spMkLst>
        </pc:spChg>
        <pc:spChg chg="add del mod">
          <ac:chgData name="nicolas chevalier" userId="677dbc9f-a297-4ad6-b248-57777f1689e8" providerId="ADAL" clId="{DB593109-BEA0-4FE0-897C-47ED19C3ABF5}" dt="2021-02-03T13:34:59.123" v="767" actId="478"/>
          <ac:spMkLst>
            <pc:docMk/>
            <pc:sldMk cId="783724235" sldId="4644"/>
            <ac:spMk id="108" creationId="{B591E0BA-DF44-4935-A594-0E2DBA69E7D3}"/>
          </ac:spMkLst>
        </pc:spChg>
        <pc:spChg chg="add del mod">
          <ac:chgData name="nicolas chevalier" userId="677dbc9f-a297-4ad6-b248-57777f1689e8" providerId="ADAL" clId="{DB593109-BEA0-4FE0-897C-47ED19C3ABF5}" dt="2021-02-03T13:34:59.123" v="767" actId="478"/>
          <ac:spMkLst>
            <pc:docMk/>
            <pc:sldMk cId="783724235" sldId="4644"/>
            <ac:spMk id="109" creationId="{09A66A7D-8607-4FD8-AB35-BF687421FAFB}"/>
          </ac:spMkLst>
        </pc:spChg>
        <pc:grpChg chg="add del mod">
          <ac:chgData name="nicolas chevalier" userId="677dbc9f-a297-4ad6-b248-57777f1689e8" providerId="ADAL" clId="{DB593109-BEA0-4FE0-897C-47ED19C3ABF5}" dt="2021-02-02T09:18:02.545" v="50" actId="478"/>
          <ac:grpSpMkLst>
            <pc:docMk/>
            <pc:sldMk cId="783724235" sldId="4644"/>
            <ac:grpSpMk id="6" creationId="{E0BBA7C3-638A-46BD-9950-688A616A6A7B}"/>
          </ac:grpSpMkLst>
        </pc:grpChg>
        <pc:grpChg chg="mod topLvl">
          <ac:chgData name="nicolas chevalier" userId="677dbc9f-a297-4ad6-b248-57777f1689e8" providerId="ADAL" clId="{DB593109-BEA0-4FE0-897C-47ED19C3ABF5}" dt="2021-02-02T09:22:44.488" v="140" actId="1076"/>
          <ac:grpSpMkLst>
            <pc:docMk/>
            <pc:sldMk cId="783724235" sldId="4644"/>
            <ac:grpSpMk id="7" creationId="{DB8E357D-1792-45F6-AEC6-7C6B4C3853F6}"/>
          </ac:grpSpMkLst>
        </pc:grpChg>
        <pc:grpChg chg="add del mod">
          <ac:chgData name="nicolas chevalier" userId="677dbc9f-a297-4ad6-b248-57777f1689e8" providerId="ADAL" clId="{DB593109-BEA0-4FE0-897C-47ED19C3ABF5}" dt="2021-02-02T09:24:27.780" v="152" actId="478"/>
          <ac:grpSpMkLst>
            <pc:docMk/>
            <pc:sldMk cId="783724235" sldId="4644"/>
            <ac:grpSpMk id="35" creationId="{0B4D90D0-249F-4D14-B97D-01B9DB909C47}"/>
          </ac:grpSpMkLst>
        </pc:grpChg>
        <pc:grpChg chg="add del mod">
          <ac:chgData name="nicolas chevalier" userId="677dbc9f-a297-4ad6-b248-57777f1689e8" providerId="ADAL" clId="{DB593109-BEA0-4FE0-897C-47ED19C3ABF5}" dt="2021-02-02T09:23:58.282" v="143"/>
          <ac:grpSpMkLst>
            <pc:docMk/>
            <pc:sldMk cId="783724235" sldId="4644"/>
            <ac:grpSpMk id="39" creationId="{0E8F047F-B99A-4295-90C7-2166E21D0B0C}"/>
          </ac:grpSpMkLst>
        </pc:grpChg>
        <pc:grpChg chg="mod">
          <ac:chgData name="nicolas chevalier" userId="677dbc9f-a297-4ad6-b248-57777f1689e8" providerId="ADAL" clId="{DB593109-BEA0-4FE0-897C-47ED19C3ABF5}" dt="2021-02-02T09:23:55.828" v="142"/>
          <ac:grpSpMkLst>
            <pc:docMk/>
            <pc:sldMk cId="783724235" sldId="4644"/>
            <ac:grpSpMk id="40" creationId="{3C83E821-5797-47F3-A1DA-B990C3507056}"/>
          </ac:grpSpMkLst>
        </pc:grpChg>
        <pc:grpChg chg="mod">
          <ac:chgData name="nicolas chevalier" userId="677dbc9f-a297-4ad6-b248-57777f1689e8" providerId="ADAL" clId="{DB593109-BEA0-4FE0-897C-47ED19C3ABF5}" dt="2021-02-02T09:23:55.828" v="142"/>
          <ac:grpSpMkLst>
            <pc:docMk/>
            <pc:sldMk cId="783724235" sldId="4644"/>
            <ac:grpSpMk id="41" creationId="{3CC61E43-FDA0-4276-A85B-FFA04923442F}"/>
          </ac:grpSpMkLst>
        </pc:grpChg>
        <pc:grpChg chg="add del mod">
          <ac:chgData name="nicolas chevalier" userId="677dbc9f-a297-4ad6-b248-57777f1689e8" providerId="ADAL" clId="{DB593109-BEA0-4FE0-897C-47ED19C3ABF5}" dt="2021-02-03T13:09:14.827" v="211" actId="478"/>
          <ac:grpSpMkLst>
            <pc:docMk/>
            <pc:sldMk cId="783724235" sldId="4644"/>
            <ac:grpSpMk id="62" creationId="{ECD9F973-D3EE-400B-9433-C80259531B0A}"/>
          </ac:grpSpMkLst>
        </pc:grpChg>
        <pc:grpChg chg="mod">
          <ac:chgData name="nicolas chevalier" userId="677dbc9f-a297-4ad6-b248-57777f1689e8" providerId="ADAL" clId="{DB593109-BEA0-4FE0-897C-47ED19C3ABF5}" dt="2021-02-03T13:01:59.332" v="184" actId="1076"/>
          <ac:grpSpMkLst>
            <pc:docMk/>
            <pc:sldMk cId="783724235" sldId="4644"/>
            <ac:grpSpMk id="63" creationId="{767E8149-5571-43EB-917E-6A6791802F99}"/>
          </ac:grpSpMkLst>
        </pc:grpChg>
        <pc:grpChg chg="mod">
          <ac:chgData name="nicolas chevalier" userId="677dbc9f-a297-4ad6-b248-57777f1689e8" providerId="ADAL" clId="{DB593109-BEA0-4FE0-897C-47ED19C3ABF5}" dt="2021-02-03T13:01:59.332" v="184" actId="1076"/>
          <ac:grpSpMkLst>
            <pc:docMk/>
            <pc:sldMk cId="783724235" sldId="4644"/>
            <ac:grpSpMk id="64" creationId="{748ABF2B-EE25-4916-A30D-1FDF5E6B89F2}"/>
          </ac:grpSpMkLst>
        </pc:grpChg>
        <pc:picChg chg="add del mod">
          <ac:chgData name="nicolas chevalier" userId="677dbc9f-a297-4ad6-b248-57777f1689e8" providerId="ADAL" clId="{DB593109-BEA0-4FE0-897C-47ED19C3ABF5}" dt="2021-02-03T13:14:41.791" v="337" actId="478"/>
          <ac:picMkLst>
            <pc:docMk/>
            <pc:sldMk cId="783724235" sldId="4644"/>
            <ac:picMk id="5" creationId="{85B097F1-AF6F-4FF2-BFD4-DF6846DCEB3C}"/>
          </ac:picMkLst>
        </pc:picChg>
        <pc:picChg chg="add del mod">
          <ac:chgData name="nicolas chevalier" userId="677dbc9f-a297-4ad6-b248-57777f1689e8" providerId="ADAL" clId="{DB593109-BEA0-4FE0-897C-47ED19C3ABF5}" dt="2021-02-02T09:22:29.198" v="133" actId="478"/>
          <ac:picMkLst>
            <pc:docMk/>
            <pc:sldMk cId="783724235" sldId="4644"/>
            <ac:picMk id="36" creationId="{E792E585-1129-4323-8D64-6A3984AE8101}"/>
          </ac:picMkLst>
        </pc:picChg>
        <pc:picChg chg="add del mod">
          <ac:chgData name="nicolas chevalier" userId="677dbc9f-a297-4ad6-b248-57777f1689e8" providerId="ADAL" clId="{DB593109-BEA0-4FE0-897C-47ED19C3ABF5}" dt="2021-02-03T13:14:40.073" v="336" actId="478"/>
          <ac:picMkLst>
            <pc:docMk/>
            <pc:sldMk cId="783724235" sldId="4644"/>
            <ac:picMk id="38" creationId="{EF577B46-B820-4C9F-AEEC-CB9D5A619F0A}"/>
          </ac:picMkLst>
        </pc:picChg>
        <pc:picChg chg="add mod">
          <ac:chgData name="nicolas chevalier" userId="677dbc9f-a297-4ad6-b248-57777f1689e8" providerId="ADAL" clId="{DB593109-BEA0-4FE0-897C-47ED19C3ABF5}" dt="2021-02-03T13:11:13.059" v="281" actId="1076"/>
          <ac:picMkLst>
            <pc:docMk/>
            <pc:sldMk cId="783724235" sldId="4644"/>
            <ac:picMk id="89" creationId="{540575EB-66BB-4EF8-B322-3B2654321FF1}"/>
          </ac:picMkLst>
        </pc:picChg>
        <pc:picChg chg="add del mod">
          <ac:chgData name="nicolas chevalier" userId="677dbc9f-a297-4ad6-b248-57777f1689e8" providerId="ADAL" clId="{DB593109-BEA0-4FE0-897C-47ED19C3ABF5}" dt="2021-02-03T13:09:48.361" v="216" actId="478"/>
          <ac:picMkLst>
            <pc:docMk/>
            <pc:sldMk cId="783724235" sldId="4644"/>
            <ac:picMk id="91" creationId="{22ED22C9-027E-459D-8B2D-B88A34532E7A}"/>
          </ac:picMkLst>
        </pc:picChg>
        <pc:picChg chg="add del mod">
          <ac:chgData name="nicolas chevalier" userId="677dbc9f-a297-4ad6-b248-57777f1689e8" providerId="ADAL" clId="{DB593109-BEA0-4FE0-897C-47ED19C3ABF5}" dt="2021-02-03T13:18:19.263" v="474"/>
          <ac:picMkLst>
            <pc:docMk/>
            <pc:sldMk cId="783724235" sldId="4644"/>
            <ac:picMk id="98" creationId="{DD6D1C95-D189-4668-AAAE-604F49C80188}"/>
          </ac:picMkLst>
        </pc:picChg>
        <pc:picChg chg="add del mod">
          <ac:chgData name="nicolas chevalier" userId="677dbc9f-a297-4ad6-b248-57777f1689e8" providerId="ADAL" clId="{DB593109-BEA0-4FE0-897C-47ED19C3ABF5}" dt="2021-02-03T13:18:22.295" v="476"/>
          <ac:picMkLst>
            <pc:docMk/>
            <pc:sldMk cId="783724235" sldId="4644"/>
            <ac:picMk id="104" creationId="{6892E48E-56AB-4D07-A1D4-11357AA2A8E8}"/>
          </ac:picMkLst>
        </pc:picChg>
        <pc:picChg chg="add del mod">
          <ac:chgData name="nicolas chevalier" userId="677dbc9f-a297-4ad6-b248-57777f1689e8" providerId="ADAL" clId="{DB593109-BEA0-4FE0-897C-47ED19C3ABF5}" dt="2021-02-03T13:34:59.123" v="767" actId="478"/>
          <ac:picMkLst>
            <pc:docMk/>
            <pc:sldMk cId="783724235" sldId="4644"/>
            <ac:picMk id="110" creationId="{CD6DE5D6-0EBC-4E5F-A71E-6A3DA8FCF055}"/>
          </ac:picMkLst>
        </pc:picChg>
        <pc:picChg chg="add del mod">
          <ac:chgData name="nicolas chevalier" userId="677dbc9f-a297-4ad6-b248-57777f1689e8" providerId="ADAL" clId="{DB593109-BEA0-4FE0-897C-47ED19C3ABF5}" dt="2021-02-03T13:32:00.991" v="755" actId="21"/>
          <ac:picMkLst>
            <pc:docMk/>
            <pc:sldMk cId="783724235" sldId="4644"/>
            <ac:picMk id="1026" creationId="{DC7D6B7A-EF1F-44A9-A04A-C1CB54819493}"/>
          </ac:picMkLst>
        </pc:picChg>
        <pc:picChg chg="add mod">
          <ac:chgData name="nicolas chevalier" userId="677dbc9f-a297-4ad6-b248-57777f1689e8" providerId="ADAL" clId="{DB593109-BEA0-4FE0-897C-47ED19C3ABF5}" dt="2021-02-03T13:34:57.177" v="766" actId="1076"/>
          <ac:picMkLst>
            <pc:docMk/>
            <pc:sldMk cId="783724235" sldId="4644"/>
            <ac:picMk id="1028" creationId="{91FD70F2-9665-4CA1-AA04-C377F97F62D2}"/>
          </ac:picMkLst>
        </pc:picChg>
      </pc:sldChg>
      <pc:sldChg chg="addSp modSp new del mod">
        <pc:chgData name="nicolas chevalier" userId="677dbc9f-a297-4ad6-b248-57777f1689e8" providerId="ADAL" clId="{DB593109-BEA0-4FE0-897C-47ED19C3ABF5}" dt="2021-02-03T14:08:23.683" v="1502" actId="47"/>
        <pc:sldMkLst>
          <pc:docMk/>
          <pc:sldMk cId="494879079" sldId="4645"/>
        </pc:sldMkLst>
        <pc:spChg chg="add mod">
          <ac:chgData name="nicolas chevalier" userId="677dbc9f-a297-4ad6-b248-57777f1689e8" providerId="ADAL" clId="{DB593109-BEA0-4FE0-897C-47ED19C3ABF5}" dt="2021-01-29T12:53:58.497" v="35" actId="1076"/>
          <ac:spMkLst>
            <pc:docMk/>
            <pc:sldMk cId="494879079" sldId="4645"/>
            <ac:spMk id="3" creationId="{D0FAFD6F-748F-4573-82BB-C8E4B2421801}"/>
          </ac:spMkLst>
        </pc:spChg>
      </pc:sldChg>
      <pc:sldChg chg="addSp delSp modSp new mod ord setBg">
        <pc:chgData name="nicolas chevalier" userId="677dbc9f-a297-4ad6-b248-57777f1689e8" providerId="ADAL" clId="{DB593109-BEA0-4FE0-897C-47ED19C3ABF5}" dt="2021-02-03T13:49:28.593" v="1100" actId="1076"/>
        <pc:sldMkLst>
          <pc:docMk/>
          <pc:sldMk cId="746074791" sldId="4646"/>
        </pc:sldMkLst>
        <pc:spChg chg="add del">
          <ac:chgData name="nicolas chevalier" userId="677dbc9f-a297-4ad6-b248-57777f1689e8" providerId="ADAL" clId="{DB593109-BEA0-4FE0-897C-47ED19C3ABF5}" dt="2021-02-03T13:14:46.281" v="339" actId="22"/>
          <ac:spMkLst>
            <pc:docMk/>
            <pc:sldMk cId="746074791" sldId="4646"/>
            <ac:spMk id="3" creationId="{C5B32BCF-58F0-4379-BA55-1FAD111D18BD}"/>
          </ac:spMkLst>
        </pc:spChg>
        <pc:spChg chg="add mo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5" creationId="{D25084F1-F025-4C57-8764-BEB188CD9814}"/>
          </ac:spMkLst>
        </pc:spChg>
        <pc:spChg chg="add mo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7" creationId="{960699B5-D59D-41D0-935F-D91ACBEA4235}"/>
          </ac:spMkLst>
        </pc:spChg>
        <pc:spChg chg="add mod or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8" creationId="{369356E8-42C4-48CA-8A93-C38EF3539737}"/>
          </ac:spMkLst>
        </pc:spChg>
        <pc:spChg chg="add del">
          <ac:chgData name="nicolas chevalier" userId="677dbc9f-a297-4ad6-b248-57777f1689e8" providerId="ADAL" clId="{DB593109-BEA0-4FE0-897C-47ED19C3ABF5}" dt="2021-02-03T13:15:39.935" v="343" actId="26606"/>
          <ac:spMkLst>
            <pc:docMk/>
            <pc:sldMk cId="746074791" sldId="4646"/>
            <ac:spMk id="9" creationId="{42A4FC2C-047E-45A5-965D-8E1E3BF09BC6}"/>
          </ac:spMkLst>
        </pc:spChg>
        <pc:spChg chg="add mo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10" creationId="{F87E0542-3A3A-486D-BEB3-20E6D4BF5D10}"/>
          </ac:spMkLst>
        </pc:spChg>
        <pc:spChg chg="add mo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11" creationId="{83D7FC6E-4608-4554-8644-B924FD51049C}"/>
          </ac:spMkLst>
        </pc:spChg>
        <pc:spChg chg="add mo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12" creationId="{A349FD70-8284-4CB8-89F3-5F84805DE7E9}"/>
          </ac:spMkLst>
        </pc:spChg>
        <pc:spChg chg="add mo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13" creationId="{6FDE8C2A-D017-4DB4-B009-724230CEB9A4}"/>
          </ac:spMkLst>
        </pc:spChg>
        <pc:spChg chg="add mo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14" creationId="{C546D533-980F-470B-8DCE-909F6D58C12A}"/>
          </ac:spMkLst>
        </pc:spChg>
        <pc:spChg chg="add mod">
          <ac:chgData name="nicolas chevalier" userId="677dbc9f-a297-4ad6-b248-57777f1689e8" providerId="ADAL" clId="{DB593109-BEA0-4FE0-897C-47ED19C3ABF5}" dt="2021-02-03T13:43:33.149" v="1054" actId="108"/>
          <ac:spMkLst>
            <pc:docMk/>
            <pc:sldMk cId="746074791" sldId="4646"/>
            <ac:spMk id="15" creationId="{51DC31E1-0F5C-4627-B405-B89D6563C2A3}"/>
          </ac:spMkLst>
        </pc:spChg>
        <pc:spChg chg="add del mod">
          <ac:chgData name="nicolas chevalier" userId="677dbc9f-a297-4ad6-b248-57777f1689e8" providerId="ADAL" clId="{DB593109-BEA0-4FE0-897C-47ED19C3ABF5}" dt="2021-02-03T13:26:13.034" v="665"/>
          <ac:spMkLst>
            <pc:docMk/>
            <pc:sldMk cId="746074791" sldId="4646"/>
            <ac:spMk id="30" creationId="{3745FB33-99A9-4838-B2F2-CB7F055498E0}"/>
          </ac:spMkLst>
        </pc:spChg>
        <pc:spChg chg="add del mod">
          <ac:chgData name="nicolas chevalier" userId="677dbc9f-a297-4ad6-b248-57777f1689e8" providerId="ADAL" clId="{DB593109-BEA0-4FE0-897C-47ED19C3ABF5}" dt="2021-02-03T13:40:05.797" v="991" actId="478"/>
          <ac:spMkLst>
            <pc:docMk/>
            <pc:sldMk cId="746074791" sldId="4646"/>
            <ac:spMk id="32" creationId="{3E412E0F-AB69-4FC8-BDFE-78226FB3F9BF}"/>
          </ac:spMkLst>
        </pc:spChg>
        <pc:spChg chg="add mo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33" creationId="{2C1013F0-8C82-4CF8-9300-F28FCDF085D8}"/>
          </ac:spMkLst>
        </pc:spChg>
        <pc:spChg chg="add mod">
          <ac:chgData name="nicolas chevalier" userId="677dbc9f-a297-4ad6-b248-57777f1689e8" providerId="ADAL" clId="{DB593109-BEA0-4FE0-897C-47ED19C3ABF5}" dt="2021-02-03T13:43:41.229" v="1055" actId="1076"/>
          <ac:spMkLst>
            <pc:docMk/>
            <pc:sldMk cId="746074791" sldId="4646"/>
            <ac:spMk id="35" creationId="{6EED4E14-79A4-4DCB-995F-A7737F4E5AC1}"/>
          </ac:spMkLst>
        </pc:spChg>
        <pc:spChg chg="add del mod">
          <ac:chgData name="nicolas chevalier" userId="677dbc9f-a297-4ad6-b248-57777f1689e8" providerId="ADAL" clId="{DB593109-BEA0-4FE0-897C-47ED19C3ABF5}" dt="2021-02-03T13:49:18.582" v="1095" actId="478"/>
          <ac:spMkLst>
            <pc:docMk/>
            <pc:sldMk cId="746074791" sldId="4646"/>
            <ac:spMk id="37" creationId="{6D9498CB-1E5C-4BA7-A529-6C94ECD3277F}"/>
          </ac:spMkLst>
        </pc:spChg>
        <pc:picChg chg="add del mod">
          <ac:chgData name="nicolas chevalier" userId="677dbc9f-a297-4ad6-b248-57777f1689e8" providerId="ADAL" clId="{DB593109-BEA0-4FE0-897C-47ED19C3ABF5}" dt="2021-02-03T13:20:32.730" v="582" actId="478"/>
          <ac:picMkLst>
            <pc:docMk/>
            <pc:sldMk cId="746074791" sldId="4646"/>
            <ac:picMk id="4" creationId="{15ABFDB0-8546-4D9C-A2A5-74CC7ADB5248}"/>
          </ac:picMkLst>
        </pc:picChg>
        <pc:picChg chg="add del mod">
          <ac:chgData name="nicolas chevalier" userId="677dbc9f-a297-4ad6-b248-57777f1689e8" providerId="ADAL" clId="{DB593109-BEA0-4FE0-897C-47ED19C3ABF5}" dt="2021-02-03T13:24:25.918" v="633" actId="478"/>
          <ac:picMkLst>
            <pc:docMk/>
            <pc:sldMk cId="746074791" sldId="4646"/>
            <ac:picMk id="6" creationId="{E9637D1A-A4C6-43C1-A313-A5EF420F117A}"/>
          </ac:picMkLst>
        </pc:picChg>
        <pc:picChg chg="add del mod">
          <ac:chgData name="nicolas chevalier" userId="677dbc9f-a297-4ad6-b248-57777f1689e8" providerId="ADAL" clId="{DB593109-BEA0-4FE0-897C-47ED19C3ABF5}" dt="2021-02-03T13:20:42.516" v="584"/>
          <ac:picMkLst>
            <pc:docMk/>
            <pc:sldMk cId="746074791" sldId="4646"/>
            <ac:picMk id="16" creationId="{ADDB4FC4-49E8-42FE-85B3-54CBCA568C19}"/>
          </ac:picMkLst>
        </pc:picChg>
        <pc:picChg chg="add del mod">
          <ac:chgData name="nicolas chevalier" userId="677dbc9f-a297-4ad6-b248-57777f1689e8" providerId="ADAL" clId="{DB593109-BEA0-4FE0-897C-47ED19C3ABF5}" dt="2021-02-03T13:20:42.516" v="584"/>
          <ac:picMkLst>
            <pc:docMk/>
            <pc:sldMk cId="746074791" sldId="4646"/>
            <ac:picMk id="17" creationId="{6351AC5C-5D4D-45A1-8BE2-0075D4CD1872}"/>
          </ac:picMkLst>
        </pc:picChg>
        <pc:picChg chg="add del mod">
          <ac:chgData name="nicolas chevalier" userId="677dbc9f-a297-4ad6-b248-57777f1689e8" providerId="ADAL" clId="{DB593109-BEA0-4FE0-897C-47ED19C3ABF5}" dt="2021-02-03T13:20:42.516" v="584"/>
          <ac:picMkLst>
            <pc:docMk/>
            <pc:sldMk cId="746074791" sldId="4646"/>
            <ac:picMk id="18" creationId="{DB344E25-056F-4D70-9ADE-83D5F62227A2}"/>
          </ac:picMkLst>
        </pc:picChg>
        <pc:picChg chg="add del mod">
          <ac:chgData name="nicolas chevalier" userId="677dbc9f-a297-4ad6-b248-57777f1689e8" providerId="ADAL" clId="{DB593109-BEA0-4FE0-897C-47ED19C3ABF5}" dt="2021-02-03T13:20:42.516" v="584"/>
          <ac:picMkLst>
            <pc:docMk/>
            <pc:sldMk cId="746074791" sldId="4646"/>
            <ac:picMk id="19" creationId="{2DE31403-2D64-4FD6-9210-C322F54A1C00}"/>
          </ac:picMkLst>
        </pc:picChg>
        <pc:picChg chg="add del mod">
          <ac:chgData name="nicolas chevalier" userId="677dbc9f-a297-4ad6-b248-57777f1689e8" providerId="ADAL" clId="{DB593109-BEA0-4FE0-897C-47ED19C3ABF5}" dt="2021-02-03T13:20:42.516" v="584"/>
          <ac:picMkLst>
            <pc:docMk/>
            <pc:sldMk cId="746074791" sldId="4646"/>
            <ac:picMk id="20" creationId="{F3789093-6EE7-471F-B33F-953271812DC7}"/>
          </ac:picMkLst>
        </pc:picChg>
        <pc:picChg chg="add del mod">
          <ac:chgData name="nicolas chevalier" userId="677dbc9f-a297-4ad6-b248-57777f1689e8" providerId="ADAL" clId="{DB593109-BEA0-4FE0-897C-47ED19C3ABF5}" dt="2021-02-03T13:20:42.516" v="584"/>
          <ac:picMkLst>
            <pc:docMk/>
            <pc:sldMk cId="746074791" sldId="4646"/>
            <ac:picMk id="21" creationId="{15D5F42A-75B3-40BE-BA72-748438B6FA21}"/>
          </ac:picMkLst>
        </pc:picChg>
        <pc:picChg chg="add del mod">
          <ac:chgData name="nicolas chevalier" userId="677dbc9f-a297-4ad6-b248-57777f1689e8" providerId="ADAL" clId="{DB593109-BEA0-4FE0-897C-47ED19C3ABF5}" dt="2021-02-03T13:20:42.516" v="584"/>
          <ac:picMkLst>
            <pc:docMk/>
            <pc:sldMk cId="746074791" sldId="4646"/>
            <ac:picMk id="22" creationId="{83A9E4F2-5F02-4AC3-B425-592DC7C2FC3A}"/>
          </ac:picMkLst>
        </pc:picChg>
        <pc:picChg chg="add mod">
          <ac:chgData name="nicolas chevalier" userId="677dbc9f-a297-4ad6-b248-57777f1689e8" providerId="ADAL" clId="{DB593109-BEA0-4FE0-897C-47ED19C3ABF5}" dt="2021-02-03T13:43:41.229" v="1055" actId="1076"/>
          <ac:picMkLst>
            <pc:docMk/>
            <pc:sldMk cId="746074791" sldId="4646"/>
            <ac:picMk id="23" creationId="{B22309A9-CAC1-4F9E-B447-0C2103BFBE84}"/>
          </ac:picMkLst>
        </pc:picChg>
        <pc:picChg chg="add mod modCrop">
          <ac:chgData name="nicolas chevalier" userId="677dbc9f-a297-4ad6-b248-57777f1689e8" providerId="ADAL" clId="{DB593109-BEA0-4FE0-897C-47ED19C3ABF5}" dt="2021-02-03T13:43:41.229" v="1055" actId="1076"/>
          <ac:picMkLst>
            <pc:docMk/>
            <pc:sldMk cId="746074791" sldId="4646"/>
            <ac:picMk id="24" creationId="{6267C0DF-F3F1-4ADF-AEC4-19DFA5312BE8}"/>
          </ac:picMkLst>
        </pc:picChg>
        <pc:picChg chg="add mod modCrop">
          <ac:chgData name="nicolas chevalier" userId="677dbc9f-a297-4ad6-b248-57777f1689e8" providerId="ADAL" clId="{DB593109-BEA0-4FE0-897C-47ED19C3ABF5}" dt="2021-02-03T13:43:41.229" v="1055" actId="1076"/>
          <ac:picMkLst>
            <pc:docMk/>
            <pc:sldMk cId="746074791" sldId="4646"/>
            <ac:picMk id="25" creationId="{C8667154-1C67-4006-B65F-B52DE5C5E968}"/>
          </ac:picMkLst>
        </pc:picChg>
        <pc:picChg chg="add mod modCrop">
          <ac:chgData name="nicolas chevalier" userId="677dbc9f-a297-4ad6-b248-57777f1689e8" providerId="ADAL" clId="{DB593109-BEA0-4FE0-897C-47ED19C3ABF5}" dt="2021-02-03T13:43:41.229" v="1055" actId="1076"/>
          <ac:picMkLst>
            <pc:docMk/>
            <pc:sldMk cId="746074791" sldId="4646"/>
            <ac:picMk id="26" creationId="{4973589D-4DFE-4442-B3E2-AD0A8E350DD7}"/>
          </ac:picMkLst>
        </pc:picChg>
        <pc:picChg chg="add del mod modCrop">
          <ac:chgData name="nicolas chevalier" userId="677dbc9f-a297-4ad6-b248-57777f1689e8" providerId="ADAL" clId="{DB593109-BEA0-4FE0-897C-47ED19C3ABF5}" dt="2021-02-03T13:25:25.556" v="654" actId="478"/>
          <ac:picMkLst>
            <pc:docMk/>
            <pc:sldMk cId="746074791" sldId="4646"/>
            <ac:picMk id="27" creationId="{5AA79A2D-8117-4BBD-8D4E-80CD8EC2C802}"/>
          </ac:picMkLst>
        </pc:picChg>
        <pc:picChg chg="add mod">
          <ac:chgData name="nicolas chevalier" userId="677dbc9f-a297-4ad6-b248-57777f1689e8" providerId="ADAL" clId="{DB593109-BEA0-4FE0-897C-47ED19C3ABF5}" dt="2021-02-03T13:43:41.229" v="1055" actId="1076"/>
          <ac:picMkLst>
            <pc:docMk/>
            <pc:sldMk cId="746074791" sldId="4646"/>
            <ac:picMk id="28" creationId="{6B117A7A-D61F-4B80-BF7B-81CC3224EBB7}"/>
          </ac:picMkLst>
        </pc:picChg>
        <pc:picChg chg="add del mod">
          <ac:chgData name="nicolas chevalier" userId="677dbc9f-a297-4ad6-b248-57777f1689e8" providerId="ADAL" clId="{DB593109-BEA0-4FE0-897C-47ED19C3ABF5}" dt="2021-02-03T13:26:13.034" v="665"/>
          <ac:picMkLst>
            <pc:docMk/>
            <pc:sldMk cId="746074791" sldId="4646"/>
            <ac:picMk id="29" creationId="{2C06EF00-6555-4473-AB86-06B6349C2FB8}"/>
          </ac:picMkLst>
        </pc:picChg>
        <pc:picChg chg="add del mod">
          <ac:chgData name="nicolas chevalier" userId="677dbc9f-a297-4ad6-b248-57777f1689e8" providerId="ADAL" clId="{DB593109-BEA0-4FE0-897C-47ED19C3ABF5}" dt="2021-02-03T13:49:19.560" v="1096" actId="478"/>
          <ac:picMkLst>
            <pc:docMk/>
            <pc:sldMk cId="746074791" sldId="4646"/>
            <ac:picMk id="31" creationId="{3520C8FC-5DF2-42E6-A0C7-1D061AA5D97B}"/>
          </ac:picMkLst>
        </pc:picChg>
        <pc:picChg chg="add mod modCrop">
          <ac:chgData name="nicolas chevalier" userId="677dbc9f-a297-4ad6-b248-57777f1689e8" providerId="ADAL" clId="{DB593109-BEA0-4FE0-897C-47ED19C3ABF5}" dt="2021-02-03T13:43:41.229" v="1055" actId="1076"/>
          <ac:picMkLst>
            <pc:docMk/>
            <pc:sldMk cId="746074791" sldId="4646"/>
            <ac:picMk id="34" creationId="{36EDAEBC-A8FD-4164-874F-C438C44E0557}"/>
          </ac:picMkLst>
        </pc:picChg>
        <pc:picChg chg="add del mod">
          <ac:chgData name="nicolas chevalier" userId="677dbc9f-a297-4ad6-b248-57777f1689e8" providerId="ADAL" clId="{DB593109-BEA0-4FE0-897C-47ED19C3ABF5}" dt="2021-02-03T13:49:20.266" v="1097" actId="478"/>
          <ac:picMkLst>
            <pc:docMk/>
            <pc:sldMk cId="746074791" sldId="4646"/>
            <ac:picMk id="36" creationId="{1F1FE3A4-1102-43B2-B733-CC71582C4204}"/>
          </ac:picMkLst>
        </pc:picChg>
        <pc:picChg chg="add mod">
          <ac:chgData name="nicolas chevalier" userId="677dbc9f-a297-4ad6-b248-57777f1689e8" providerId="ADAL" clId="{DB593109-BEA0-4FE0-897C-47ED19C3ABF5}" dt="2021-02-03T13:49:28.593" v="1100" actId="1076"/>
          <ac:picMkLst>
            <pc:docMk/>
            <pc:sldMk cId="746074791" sldId="4646"/>
            <ac:picMk id="38" creationId="{2167B32E-131B-4643-9B05-3E53D5F21980}"/>
          </ac:picMkLst>
        </pc:picChg>
      </pc:sldChg>
      <pc:sldChg chg="addSp delSp modSp new mod ord">
        <pc:chgData name="nicolas chevalier" userId="677dbc9f-a297-4ad6-b248-57777f1689e8" providerId="ADAL" clId="{DB593109-BEA0-4FE0-897C-47ED19C3ABF5}" dt="2021-02-03T14:14:51.188" v="1829" actId="1076"/>
        <pc:sldMkLst>
          <pc:docMk/>
          <pc:sldMk cId="3085018833" sldId="4647"/>
        </pc:sldMkLst>
        <pc:spChg chg="add mod">
          <ac:chgData name="nicolas chevalier" userId="677dbc9f-a297-4ad6-b248-57777f1689e8" providerId="ADAL" clId="{DB593109-BEA0-4FE0-897C-47ED19C3ABF5}" dt="2021-02-03T13:46:24.612" v="1076" actId="1076"/>
          <ac:spMkLst>
            <pc:docMk/>
            <pc:sldMk cId="3085018833" sldId="4647"/>
            <ac:spMk id="2" creationId="{CC4B62B3-BFCF-40BA-8AFC-439067410276}"/>
          </ac:spMkLst>
        </pc:spChg>
        <pc:spChg chg="add del">
          <ac:chgData name="nicolas chevalier" userId="677dbc9f-a297-4ad6-b248-57777f1689e8" providerId="ADAL" clId="{DB593109-BEA0-4FE0-897C-47ED19C3ABF5}" dt="2021-02-03T13:37:35.509" v="786" actId="22"/>
          <ac:spMkLst>
            <pc:docMk/>
            <pc:sldMk cId="3085018833" sldId="4647"/>
            <ac:spMk id="6" creationId="{A61EB0A0-7251-4CEB-80EB-34B3EEF7ACEE}"/>
          </ac:spMkLst>
        </pc:spChg>
        <pc:spChg chg="add mod">
          <ac:chgData name="nicolas chevalier" userId="677dbc9f-a297-4ad6-b248-57777f1689e8" providerId="ADAL" clId="{DB593109-BEA0-4FE0-897C-47ED19C3ABF5}" dt="2021-02-03T14:14:51.188" v="1829" actId="1076"/>
          <ac:spMkLst>
            <pc:docMk/>
            <pc:sldMk cId="3085018833" sldId="4647"/>
            <ac:spMk id="10" creationId="{79DA9AB1-FFB7-4B5C-9F82-CFC7216130CF}"/>
          </ac:spMkLst>
        </pc:spChg>
        <pc:picChg chg="add mod">
          <ac:chgData name="nicolas chevalier" userId="677dbc9f-a297-4ad6-b248-57777f1689e8" providerId="ADAL" clId="{DB593109-BEA0-4FE0-897C-47ED19C3ABF5}" dt="2021-02-03T13:45:33.221" v="1064" actId="14100"/>
          <ac:picMkLst>
            <pc:docMk/>
            <pc:sldMk cId="3085018833" sldId="4647"/>
            <ac:picMk id="3" creationId="{1DC3DB6B-F519-4296-B00E-CF6066F51DC3}"/>
          </ac:picMkLst>
        </pc:picChg>
        <pc:picChg chg="add mod">
          <ac:chgData name="nicolas chevalier" userId="677dbc9f-a297-4ad6-b248-57777f1689e8" providerId="ADAL" clId="{DB593109-BEA0-4FE0-897C-47ED19C3ABF5}" dt="2021-02-03T13:45:47.453" v="1070" actId="1076"/>
          <ac:picMkLst>
            <pc:docMk/>
            <pc:sldMk cId="3085018833" sldId="4647"/>
            <ac:picMk id="4" creationId="{87217568-AA64-40A1-86CE-2058D2BB3DD0}"/>
          </ac:picMkLst>
        </pc:picChg>
        <pc:picChg chg="add mod modCrop">
          <ac:chgData name="nicolas chevalier" userId="677dbc9f-a297-4ad6-b248-57777f1689e8" providerId="ADAL" clId="{DB593109-BEA0-4FE0-897C-47ED19C3ABF5}" dt="2021-02-03T13:45:52.760" v="1072" actId="1076"/>
          <ac:picMkLst>
            <pc:docMk/>
            <pc:sldMk cId="3085018833" sldId="4647"/>
            <ac:picMk id="8" creationId="{0296BBCC-25D7-43E4-84A2-A98EF43CFBB3}"/>
          </ac:picMkLst>
        </pc:picChg>
      </pc:sldChg>
      <pc:sldChg chg="addSp delSp modSp add mod">
        <pc:chgData name="nicolas chevalier" userId="677dbc9f-a297-4ad6-b248-57777f1689e8" providerId="ADAL" clId="{DB593109-BEA0-4FE0-897C-47ED19C3ABF5}" dt="2021-02-03T14:10:28.867" v="1528" actId="207"/>
        <pc:sldMkLst>
          <pc:docMk/>
          <pc:sldMk cId="213799880" sldId="4648"/>
        </pc:sldMkLst>
        <pc:spChg chg="del">
          <ac:chgData name="nicolas chevalier" userId="677dbc9f-a297-4ad6-b248-57777f1689e8" providerId="ADAL" clId="{DB593109-BEA0-4FE0-897C-47ED19C3ABF5}" dt="2021-02-03T13:51:50.904" v="1120" actId="478"/>
          <ac:spMkLst>
            <pc:docMk/>
            <pc:sldMk cId="213799880" sldId="4648"/>
            <ac:spMk id="5" creationId="{D25084F1-F025-4C57-8764-BEB188CD9814}"/>
          </ac:spMkLst>
        </pc:spChg>
        <pc:spChg chg="del">
          <ac:chgData name="nicolas chevalier" userId="677dbc9f-a297-4ad6-b248-57777f1689e8" providerId="ADAL" clId="{DB593109-BEA0-4FE0-897C-47ED19C3ABF5}" dt="2021-02-03T13:51:50.904" v="1120" actId="478"/>
          <ac:spMkLst>
            <pc:docMk/>
            <pc:sldMk cId="213799880" sldId="4648"/>
            <ac:spMk id="7" creationId="{960699B5-D59D-41D0-935F-D91ACBEA4235}"/>
          </ac:spMkLst>
        </pc:spChg>
        <pc:spChg chg="del">
          <ac:chgData name="nicolas chevalier" userId="677dbc9f-a297-4ad6-b248-57777f1689e8" providerId="ADAL" clId="{DB593109-BEA0-4FE0-897C-47ED19C3ABF5}" dt="2021-02-03T13:51:50.904" v="1120" actId="478"/>
          <ac:spMkLst>
            <pc:docMk/>
            <pc:sldMk cId="213799880" sldId="4648"/>
            <ac:spMk id="8" creationId="{369356E8-42C4-48CA-8A93-C38EF3539737}"/>
          </ac:spMkLst>
        </pc:spChg>
        <pc:spChg chg="del">
          <ac:chgData name="nicolas chevalier" userId="677dbc9f-a297-4ad6-b248-57777f1689e8" providerId="ADAL" clId="{DB593109-BEA0-4FE0-897C-47ED19C3ABF5}" dt="2021-02-03T13:51:50.904" v="1120" actId="478"/>
          <ac:spMkLst>
            <pc:docMk/>
            <pc:sldMk cId="213799880" sldId="4648"/>
            <ac:spMk id="10" creationId="{F87E0542-3A3A-486D-BEB3-20E6D4BF5D10}"/>
          </ac:spMkLst>
        </pc:spChg>
        <pc:spChg chg="del mod">
          <ac:chgData name="nicolas chevalier" userId="677dbc9f-a297-4ad6-b248-57777f1689e8" providerId="ADAL" clId="{DB593109-BEA0-4FE0-897C-47ED19C3ABF5}" dt="2021-02-03T13:53:09.651" v="1141" actId="478"/>
          <ac:spMkLst>
            <pc:docMk/>
            <pc:sldMk cId="213799880" sldId="4648"/>
            <ac:spMk id="11" creationId="{83D7FC6E-4608-4554-8644-B924FD51049C}"/>
          </ac:spMkLst>
        </pc:spChg>
        <pc:spChg chg="del">
          <ac:chgData name="nicolas chevalier" userId="677dbc9f-a297-4ad6-b248-57777f1689e8" providerId="ADAL" clId="{DB593109-BEA0-4FE0-897C-47ED19C3ABF5}" dt="2021-02-03T13:51:42.099" v="1119" actId="478"/>
          <ac:spMkLst>
            <pc:docMk/>
            <pc:sldMk cId="213799880" sldId="4648"/>
            <ac:spMk id="12" creationId="{A349FD70-8284-4CB8-89F3-5F84805DE7E9}"/>
          </ac:spMkLst>
        </pc:spChg>
        <pc:spChg chg="del">
          <ac:chgData name="nicolas chevalier" userId="677dbc9f-a297-4ad6-b248-57777f1689e8" providerId="ADAL" clId="{DB593109-BEA0-4FE0-897C-47ED19C3ABF5}" dt="2021-02-03T13:53:49.182" v="1151" actId="478"/>
          <ac:spMkLst>
            <pc:docMk/>
            <pc:sldMk cId="213799880" sldId="4648"/>
            <ac:spMk id="13" creationId="{6FDE8C2A-D017-4DB4-B009-724230CEB9A4}"/>
          </ac:spMkLst>
        </pc:spChg>
        <pc:spChg chg="del mod">
          <ac:chgData name="nicolas chevalier" userId="677dbc9f-a297-4ad6-b248-57777f1689e8" providerId="ADAL" clId="{DB593109-BEA0-4FE0-897C-47ED19C3ABF5}" dt="2021-02-03T13:51:40" v="1117" actId="478"/>
          <ac:spMkLst>
            <pc:docMk/>
            <pc:sldMk cId="213799880" sldId="4648"/>
            <ac:spMk id="14" creationId="{C546D533-980F-470B-8DCE-909F6D58C12A}"/>
          </ac:spMkLst>
        </pc:spChg>
        <pc:spChg chg="mod">
          <ac:chgData name="nicolas chevalier" userId="677dbc9f-a297-4ad6-b248-57777f1689e8" providerId="ADAL" clId="{DB593109-BEA0-4FE0-897C-47ED19C3ABF5}" dt="2021-02-03T14:10:28.867" v="1528" actId="207"/>
          <ac:spMkLst>
            <pc:docMk/>
            <pc:sldMk cId="213799880" sldId="4648"/>
            <ac:spMk id="15" creationId="{51DC31E1-0F5C-4627-B405-B89D6563C2A3}"/>
          </ac:spMkLst>
        </pc:spChg>
        <pc:spChg chg="add del mod">
          <ac:chgData name="nicolas chevalier" userId="677dbc9f-a297-4ad6-b248-57777f1689e8" providerId="ADAL" clId="{DB593109-BEA0-4FE0-897C-47ED19C3ABF5}" dt="2021-02-03T14:08:58.483" v="1509" actId="478"/>
          <ac:spMkLst>
            <pc:docMk/>
            <pc:sldMk cId="213799880" sldId="4648"/>
            <ac:spMk id="22" creationId="{9AD7D39D-1FA2-4992-B0F9-FF47CA01A003}"/>
          </ac:spMkLst>
        </pc:spChg>
        <pc:spChg chg="del">
          <ac:chgData name="nicolas chevalier" userId="677dbc9f-a297-4ad6-b248-57777f1689e8" providerId="ADAL" clId="{DB593109-BEA0-4FE0-897C-47ED19C3ABF5}" dt="2021-02-03T13:51:50.904" v="1120" actId="478"/>
          <ac:spMkLst>
            <pc:docMk/>
            <pc:sldMk cId="213799880" sldId="4648"/>
            <ac:spMk id="33" creationId="{2C1013F0-8C82-4CF8-9300-F28FCDF085D8}"/>
          </ac:spMkLst>
        </pc:spChg>
        <pc:spChg chg="del">
          <ac:chgData name="nicolas chevalier" userId="677dbc9f-a297-4ad6-b248-57777f1689e8" providerId="ADAL" clId="{DB593109-BEA0-4FE0-897C-47ED19C3ABF5}" dt="2021-02-03T13:51:50.904" v="1120" actId="478"/>
          <ac:spMkLst>
            <pc:docMk/>
            <pc:sldMk cId="213799880" sldId="4648"/>
            <ac:spMk id="35" creationId="{6EED4E14-79A4-4DCB-995F-A7737F4E5AC1}"/>
          </ac:spMkLst>
        </pc:spChg>
        <pc:spChg chg="add mod">
          <ac:chgData name="nicolas chevalier" userId="677dbc9f-a297-4ad6-b248-57777f1689e8" providerId="ADAL" clId="{DB593109-BEA0-4FE0-897C-47ED19C3ABF5}" dt="2021-02-03T14:02:49.627" v="1275" actId="1076"/>
          <ac:spMkLst>
            <pc:docMk/>
            <pc:sldMk cId="213799880" sldId="4648"/>
            <ac:spMk id="45" creationId="{C1E02D4A-5DC2-4D52-A9C7-CD51E22A0536}"/>
          </ac:spMkLst>
        </pc:spChg>
        <pc:spChg chg="add mod">
          <ac:chgData name="nicolas chevalier" userId="677dbc9f-a297-4ad6-b248-57777f1689e8" providerId="ADAL" clId="{DB593109-BEA0-4FE0-897C-47ED19C3ABF5}" dt="2021-02-03T14:09:40.871" v="1522" actId="1076"/>
          <ac:spMkLst>
            <pc:docMk/>
            <pc:sldMk cId="213799880" sldId="4648"/>
            <ac:spMk id="46" creationId="{CF46CE6E-650B-4855-A750-7EB621B27838}"/>
          </ac:spMkLst>
        </pc:spChg>
        <pc:spChg chg="add mod">
          <ac:chgData name="nicolas chevalier" userId="677dbc9f-a297-4ad6-b248-57777f1689e8" providerId="ADAL" clId="{DB593109-BEA0-4FE0-897C-47ED19C3ABF5}" dt="2021-02-03T14:09:01.831" v="1510" actId="1076"/>
          <ac:spMkLst>
            <pc:docMk/>
            <pc:sldMk cId="213799880" sldId="4648"/>
            <ac:spMk id="50" creationId="{BE5C73A1-E853-4C4B-94E4-26DBA1E551ED}"/>
          </ac:spMkLst>
        </pc:spChg>
        <pc:spChg chg="add del mod">
          <ac:chgData name="nicolas chevalier" userId="677dbc9f-a297-4ad6-b248-57777f1689e8" providerId="ADAL" clId="{DB593109-BEA0-4FE0-897C-47ED19C3ABF5}" dt="2021-02-03T14:09:28.108" v="1515"/>
          <ac:spMkLst>
            <pc:docMk/>
            <pc:sldMk cId="213799880" sldId="4648"/>
            <ac:spMk id="51" creationId="{ED265615-D4DC-4272-8097-73E7B15E6883}"/>
          </ac:spMkLst>
        </pc:spChg>
        <pc:spChg chg="add del mod">
          <ac:chgData name="nicolas chevalier" userId="677dbc9f-a297-4ad6-b248-57777f1689e8" providerId="ADAL" clId="{DB593109-BEA0-4FE0-897C-47ED19C3ABF5}" dt="2021-02-03T14:09:28.108" v="1515"/>
          <ac:spMkLst>
            <pc:docMk/>
            <pc:sldMk cId="213799880" sldId="4648"/>
            <ac:spMk id="52" creationId="{814DF5BF-315D-4552-8A74-1083CFE9D142}"/>
          </ac:spMkLst>
        </pc:spChg>
        <pc:spChg chg="add del mod">
          <ac:chgData name="nicolas chevalier" userId="677dbc9f-a297-4ad6-b248-57777f1689e8" providerId="ADAL" clId="{DB593109-BEA0-4FE0-897C-47ED19C3ABF5}" dt="2021-02-03T14:09:28.108" v="1515"/>
          <ac:spMkLst>
            <pc:docMk/>
            <pc:sldMk cId="213799880" sldId="4648"/>
            <ac:spMk id="53" creationId="{3E6F1351-FD0D-4A33-BC05-E6983186B732}"/>
          </ac:spMkLst>
        </pc:spChg>
        <pc:spChg chg="add del mod">
          <ac:chgData name="nicolas chevalier" userId="677dbc9f-a297-4ad6-b248-57777f1689e8" providerId="ADAL" clId="{DB593109-BEA0-4FE0-897C-47ED19C3ABF5}" dt="2021-02-03T14:09:28.108" v="1515"/>
          <ac:spMkLst>
            <pc:docMk/>
            <pc:sldMk cId="213799880" sldId="4648"/>
            <ac:spMk id="54" creationId="{3ACC23E1-E375-41D3-B09F-3EA93062BE02}"/>
          </ac:spMkLst>
        </pc:spChg>
        <pc:spChg chg="add del mod">
          <ac:chgData name="nicolas chevalier" userId="677dbc9f-a297-4ad6-b248-57777f1689e8" providerId="ADAL" clId="{DB593109-BEA0-4FE0-897C-47ED19C3ABF5}" dt="2021-02-03T14:09:28.108" v="1515"/>
          <ac:spMkLst>
            <pc:docMk/>
            <pc:sldMk cId="213799880" sldId="4648"/>
            <ac:spMk id="55" creationId="{9AB9D3BB-B3EA-4FAB-8BFA-A45418A48AA5}"/>
          </ac:spMkLst>
        </pc:spChg>
        <pc:picChg chg="add mod">
          <ac:chgData name="nicolas chevalier" userId="677dbc9f-a297-4ad6-b248-57777f1689e8" providerId="ADAL" clId="{DB593109-BEA0-4FE0-897C-47ED19C3ABF5}" dt="2021-02-03T14:09:25.013" v="1514" actId="1076"/>
          <ac:picMkLst>
            <pc:docMk/>
            <pc:sldMk cId="213799880" sldId="4648"/>
            <ac:picMk id="3" creationId="{D992F101-3C25-4CAA-80C4-684BD4E55A57}"/>
          </ac:picMkLst>
        </pc:picChg>
        <pc:picChg chg="add del">
          <ac:chgData name="nicolas chevalier" userId="677dbc9f-a297-4ad6-b248-57777f1689e8" providerId="ADAL" clId="{DB593109-BEA0-4FE0-897C-47ED19C3ABF5}" dt="2021-02-03T13:59:12.890" v="1192"/>
          <ac:picMkLst>
            <pc:docMk/>
            <pc:sldMk cId="213799880" sldId="4648"/>
            <ac:picMk id="19" creationId="{0E99FC20-E1C2-4A9F-8746-383758E08373}"/>
          </ac:picMkLst>
        </pc:picChg>
        <pc:picChg chg="add del mod">
          <ac:chgData name="nicolas chevalier" userId="677dbc9f-a297-4ad6-b248-57777f1689e8" providerId="ADAL" clId="{DB593109-BEA0-4FE0-897C-47ED19C3ABF5}" dt="2021-02-03T13:53:06.283" v="1138" actId="478"/>
          <ac:picMkLst>
            <pc:docMk/>
            <pc:sldMk cId="213799880" sldId="4648"/>
            <ac:picMk id="20" creationId="{C1F2CFBA-50CE-4E8E-81FA-DFD46F3FB1AD}"/>
          </ac:picMkLst>
        </pc:picChg>
        <pc:picChg chg="del">
          <ac:chgData name="nicolas chevalier" userId="677dbc9f-a297-4ad6-b248-57777f1689e8" providerId="ADAL" clId="{DB593109-BEA0-4FE0-897C-47ED19C3ABF5}" dt="2021-02-03T13:51:50.904" v="1120" actId="478"/>
          <ac:picMkLst>
            <pc:docMk/>
            <pc:sldMk cId="213799880" sldId="4648"/>
            <ac:picMk id="23" creationId="{B22309A9-CAC1-4F9E-B447-0C2103BFBE84}"/>
          </ac:picMkLst>
        </pc:picChg>
        <pc:picChg chg="del">
          <ac:chgData name="nicolas chevalier" userId="677dbc9f-a297-4ad6-b248-57777f1689e8" providerId="ADAL" clId="{DB593109-BEA0-4FE0-897C-47ED19C3ABF5}" dt="2021-02-03T13:51:40.783" v="1118" actId="478"/>
          <ac:picMkLst>
            <pc:docMk/>
            <pc:sldMk cId="213799880" sldId="4648"/>
            <ac:picMk id="24" creationId="{6267C0DF-F3F1-4ADF-AEC4-19DFA5312BE8}"/>
          </ac:picMkLst>
        </pc:picChg>
        <pc:picChg chg="del mod">
          <ac:chgData name="nicolas chevalier" userId="677dbc9f-a297-4ad6-b248-57777f1689e8" providerId="ADAL" clId="{DB593109-BEA0-4FE0-897C-47ED19C3ABF5}" dt="2021-02-03T13:53:55.627" v="1153" actId="478"/>
          <ac:picMkLst>
            <pc:docMk/>
            <pc:sldMk cId="213799880" sldId="4648"/>
            <ac:picMk id="25" creationId="{C8667154-1C67-4006-B65F-B52DE5C5E968}"/>
          </ac:picMkLst>
        </pc:picChg>
        <pc:picChg chg="del mod">
          <ac:chgData name="nicolas chevalier" userId="677dbc9f-a297-4ad6-b248-57777f1689e8" providerId="ADAL" clId="{DB593109-BEA0-4FE0-897C-47ED19C3ABF5}" dt="2021-02-03T13:51:36.402" v="1115" actId="478"/>
          <ac:picMkLst>
            <pc:docMk/>
            <pc:sldMk cId="213799880" sldId="4648"/>
            <ac:picMk id="26" creationId="{4973589D-4DFE-4442-B3E2-AD0A8E350DD7}"/>
          </ac:picMkLst>
        </pc:picChg>
        <pc:picChg chg="del">
          <ac:chgData name="nicolas chevalier" userId="677dbc9f-a297-4ad6-b248-57777f1689e8" providerId="ADAL" clId="{DB593109-BEA0-4FE0-897C-47ED19C3ABF5}" dt="2021-02-03T13:51:50.904" v="1120" actId="478"/>
          <ac:picMkLst>
            <pc:docMk/>
            <pc:sldMk cId="213799880" sldId="4648"/>
            <ac:picMk id="28" creationId="{6B117A7A-D61F-4B80-BF7B-81CC3224EBB7}"/>
          </ac:picMkLst>
        </pc:picChg>
        <pc:picChg chg="del">
          <ac:chgData name="nicolas chevalier" userId="677dbc9f-a297-4ad6-b248-57777f1689e8" providerId="ADAL" clId="{DB593109-BEA0-4FE0-897C-47ED19C3ABF5}" dt="2021-02-03T13:51:50.904" v="1120" actId="478"/>
          <ac:picMkLst>
            <pc:docMk/>
            <pc:sldMk cId="213799880" sldId="4648"/>
            <ac:picMk id="34" creationId="{36EDAEBC-A8FD-4164-874F-C438C44E0557}"/>
          </ac:picMkLst>
        </pc:picChg>
        <pc:picChg chg="mod">
          <ac:chgData name="nicolas chevalier" userId="677dbc9f-a297-4ad6-b248-57777f1689e8" providerId="ADAL" clId="{DB593109-BEA0-4FE0-897C-47ED19C3ABF5}" dt="2021-02-03T14:09:42.503" v="1523" actId="1076"/>
          <ac:picMkLst>
            <pc:docMk/>
            <pc:sldMk cId="213799880" sldId="4648"/>
            <ac:picMk id="38" creationId="{2167B32E-131B-4643-9B05-3E53D5F21980}"/>
          </ac:picMkLst>
        </pc:picChg>
        <pc:picChg chg="add del mod">
          <ac:chgData name="nicolas chevalier" userId="677dbc9f-a297-4ad6-b248-57777f1689e8" providerId="ADAL" clId="{DB593109-BEA0-4FE0-897C-47ED19C3ABF5}" dt="2021-02-03T13:58:01.075" v="1187" actId="478"/>
          <ac:picMkLst>
            <pc:docMk/>
            <pc:sldMk cId="213799880" sldId="4648"/>
            <ac:picMk id="40" creationId="{637F5464-3BE0-4B42-95F4-EE11C0F2C7E4}"/>
          </ac:picMkLst>
        </pc:picChg>
        <pc:picChg chg="add mod">
          <ac:chgData name="nicolas chevalier" userId="677dbc9f-a297-4ad6-b248-57777f1689e8" providerId="ADAL" clId="{DB593109-BEA0-4FE0-897C-47ED19C3ABF5}" dt="2021-02-03T14:01:50.647" v="1214" actId="1076"/>
          <ac:picMkLst>
            <pc:docMk/>
            <pc:sldMk cId="213799880" sldId="4648"/>
            <ac:picMk id="41" creationId="{81DFB892-F3DF-43DA-910D-56105F26B660}"/>
          </ac:picMkLst>
        </pc:picChg>
        <pc:picChg chg="add mod">
          <ac:chgData name="nicolas chevalier" userId="677dbc9f-a297-4ad6-b248-57777f1689e8" providerId="ADAL" clId="{DB593109-BEA0-4FE0-897C-47ED19C3ABF5}" dt="2021-02-03T14:01:47.927" v="1213"/>
          <ac:picMkLst>
            <pc:docMk/>
            <pc:sldMk cId="213799880" sldId="4648"/>
            <ac:picMk id="42" creationId="{83E5FFEF-0639-4C23-A1C1-8E16D16776A7}"/>
          </ac:picMkLst>
        </pc:picChg>
        <pc:picChg chg="add del mod">
          <ac:chgData name="nicolas chevalier" userId="677dbc9f-a297-4ad6-b248-57777f1689e8" providerId="ADAL" clId="{DB593109-BEA0-4FE0-897C-47ED19C3ABF5}" dt="2021-02-03T14:00:18.654" v="1208" actId="478"/>
          <ac:picMkLst>
            <pc:docMk/>
            <pc:sldMk cId="213799880" sldId="4648"/>
            <ac:picMk id="43" creationId="{EB82C4EA-D6F8-42E4-89B5-F05C54C1DB93}"/>
          </ac:picMkLst>
        </pc:picChg>
        <pc:picChg chg="add mod">
          <ac:chgData name="nicolas chevalier" userId="677dbc9f-a297-4ad6-b248-57777f1689e8" providerId="ADAL" clId="{DB593109-BEA0-4FE0-897C-47ED19C3ABF5}" dt="2021-02-03T14:09:39.055" v="1521" actId="1076"/>
          <ac:picMkLst>
            <pc:docMk/>
            <pc:sldMk cId="213799880" sldId="4648"/>
            <ac:picMk id="48" creationId="{C7BE4416-3A20-4B07-B7FA-C1948D3F9C2D}"/>
          </ac:picMkLst>
        </pc:picChg>
        <pc:picChg chg="add del mod">
          <ac:chgData name="nicolas chevalier" userId="677dbc9f-a297-4ad6-b248-57777f1689e8" providerId="ADAL" clId="{DB593109-BEA0-4FE0-897C-47ED19C3ABF5}" dt="2021-02-03T14:09:28.108" v="1515"/>
          <ac:picMkLst>
            <pc:docMk/>
            <pc:sldMk cId="213799880" sldId="4648"/>
            <ac:picMk id="56" creationId="{07F0A641-FF71-437D-8A4C-F20B08FDB759}"/>
          </ac:picMkLst>
        </pc:picChg>
        <pc:picChg chg="add mod">
          <ac:chgData name="nicolas chevalier" userId="677dbc9f-a297-4ad6-b248-57777f1689e8" providerId="ADAL" clId="{DB593109-BEA0-4FE0-897C-47ED19C3ABF5}" dt="2021-02-03T13:59:23.151" v="1198" actId="1076"/>
          <ac:picMkLst>
            <pc:docMk/>
            <pc:sldMk cId="213799880" sldId="4648"/>
            <ac:picMk id="3074" creationId="{477EBBB7-3828-4D97-9BB0-D78BA403FFED}"/>
          </ac:picMkLst>
        </pc:picChg>
        <pc:picChg chg="add mod">
          <ac:chgData name="nicolas chevalier" userId="677dbc9f-a297-4ad6-b248-57777f1689e8" providerId="ADAL" clId="{DB593109-BEA0-4FE0-897C-47ED19C3ABF5}" dt="2021-02-03T14:01:16.060" v="1211"/>
          <ac:picMkLst>
            <pc:docMk/>
            <pc:sldMk cId="213799880" sldId="4648"/>
            <ac:picMk id="3076" creationId="{9D19B488-364F-4764-9A7B-0EF660680DC4}"/>
          </ac:picMkLst>
        </pc:picChg>
        <pc:cxnChg chg="add mod">
          <ac:chgData name="nicolas chevalier" userId="677dbc9f-a297-4ad6-b248-57777f1689e8" providerId="ADAL" clId="{DB593109-BEA0-4FE0-897C-47ED19C3ABF5}" dt="2021-02-03T13:55:46.190" v="1173" actId="1076"/>
          <ac:cxnSpMkLst>
            <pc:docMk/>
            <pc:sldMk cId="213799880" sldId="4648"/>
            <ac:cxnSpMk id="6" creationId="{328FBE40-71DA-4AC1-8163-E40E484A210C}"/>
          </ac:cxnSpMkLst>
        </pc:cxnChg>
        <pc:cxnChg chg="add mod">
          <ac:chgData name="nicolas chevalier" userId="677dbc9f-a297-4ad6-b248-57777f1689e8" providerId="ADAL" clId="{DB593109-BEA0-4FE0-897C-47ED19C3ABF5}" dt="2021-02-03T13:55:46.190" v="1173" actId="1076"/>
          <ac:cxnSpMkLst>
            <pc:docMk/>
            <pc:sldMk cId="213799880" sldId="4648"/>
            <ac:cxnSpMk id="27" creationId="{FC57F6D4-0FFA-4E76-BC71-048252C2CE59}"/>
          </ac:cxnSpMkLst>
        </pc:cxnChg>
        <pc:cxnChg chg="add mod">
          <ac:chgData name="nicolas chevalier" userId="677dbc9f-a297-4ad6-b248-57777f1689e8" providerId="ADAL" clId="{DB593109-BEA0-4FE0-897C-47ED19C3ABF5}" dt="2021-02-03T14:03:40.119" v="1335" actId="14100"/>
          <ac:cxnSpMkLst>
            <pc:docMk/>
            <pc:sldMk cId="213799880" sldId="4648"/>
            <ac:cxnSpMk id="29" creationId="{5A8F81C1-1838-4AFC-9CA3-56D2919B9E3C}"/>
          </ac:cxnSpMkLst>
        </pc:cxnChg>
        <pc:cxnChg chg="add mod">
          <ac:chgData name="nicolas chevalier" userId="677dbc9f-a297-4ad6-b248-57777f1689e8" providerId="ADAL" clId="{DB593109-BEA0-4FE0-897C-47ED19C3ABF5}" dt="2021-02-03T13:55:46.190" v="1173" actId="1076"/>
          <ac:cxnSpMkLst>
            <pc:docMk/>
            <pc:sldMk cId="213799880" sldId="4648"/>
            <ac:cxnSpMk id="30" creationId="{FDBDEE91-D4C1-48DF-8661-204788E4AABB}"/>
          </ac:cxnSpMkLst>
        </pc:cxnChg>
        <pc:cxnChg chg="add mod">
          <ac:chgData name="nicolas chevalier" userId="677dbc9f-a297-4ad6-b248-57777f1689e8" providerId="ADAL" clId="{DB593109-BEA0-4FE0-897C-47ED19C3ABF5}" dt="2021-02-03T14:03:36.433" v="1333" actId="1076"/>
          <ac:cxnSpMkLst>
            <pc:docMk/>
            <pc:sldMk cId="213799880" sldId="4648"/>
            <ac:cxnSpMk id="32" creationId="{D4AE3FA3-A757-4A98-A1A7-0FF24511A723}"/>
          </ac:cxnSpMkLst>
        </pc:cxnChg>
        <pc:cxnChg chg="add mod">
          <ac:chgData name="nicolas chevalier" userId="677dbc9f-a297-4ad6-b248-57777f1689e8" providerId="ADAL" clId="{DB593109-BEA0-4FE0-897C-47ED19C3ABF5}" dt="2021-02-03T13:55:56.713" v="1177" actId="1076"/>
          <ac:cxnSpMkLst>
            <pc:docMk/>
            <pc:sldMk cId="213799880" sldId="4648"/>
            <ac:cxnSpMk id="36" creationId="{785F9730-70EE-4D6A-8C7C-C0B94A2F25A9}"/>
          </ac:cxnSpMkLst>
        </pc:cxnChg>
        <pc:cxnChg chg="add mod">
          <ac:chgData name="nicolas chevalier" userId="677dbc9f-a297-4ad6-b248-57777f1689e8" providerId="ADAL" clId="{DB593109-BEA0-4FE0-897C-47ED19C3ABF5}" dt="2021-02-03T13:56:03.300" v="1179" actId="1076"/>
          <ac:cxnSpMkLst>
            <pc:docMk/>
            <pc:sldMk cId="213799880" sldId="4648"/>
            <ac:cxnSpMk id="37" creationId="{3CDC8C1A-0CFC-4E89-8932-05A4468E0507}"/>
          </ac:cxnSpMkLst>
        </pc:cxnChg>
        <pc:cxnChg chg="add mod">
          <ac:chgData name="nicolas chevalier" userId="677dbc9f-a297-4ad6-b248-57777f1689e8" providerId="ADAL" clId="{DB593109-BEA0-4FE0-897C-47ED19C3ABF5}" dt="2021-02-03T13:56:07.992" v="1181" actId="1076"/>
          <ac:cxnSpMkLst>
            <pc:docMk/>
            <pc:sldMk cId="213799880" sldId="4648"/>
            <ac:cxnSpMk id="39" creationId="{FDB0819C-4635-4D5C-972D-053C7FFBA510}"/>
          </ac:cxnSpMkLst>
        </pc:cxnChg>
      </pc:sldChg>
    </pc:docChg>
  </pc:docChgLst>
  <pc:docChgLst>
    <pc:chgData name="nicolas chevalier" userId="677dbc9f-a297-4ad6-b248-57777f1689e8" providerId="ADAL" clId="{64ADC240-B61B-40A0-9C7F-8FC5D84E98FB}"/>
    <pc:docChg chg="custSel modSld">
      <pc:chgData name="nicolas chevalier" userId="677dbc9f-a297-4ad6-b248-57777f1689e8" providerId="ADAL" clId="{64ADC240-B61B-40A0-9C7F-8FC5D84E98FB}" dt="2020-11-13T10:29:01.742" v="404" actId="6549"/>
      <pc:docMkLst>
        <pc:docMk/>
      </pc:docMkLst>
      <pc:sldChg chg="modSp mod">
        <pc:chgData name="nicolas chevalier" userId="677dbc9f-a297-4ad6-b248-57777f1689e8" providerId="ADAL" clId="{64ADC240-B61B-40A0-9C7F-8FC5D84E98FB}" dt="2020-11-13T10:29:01.742" v="404" actId="6549"/>
        <pc:sldMkLst>
          <pc:docMk/>
          <pc:sldMk cId="757630478" sldId="4643"/>
        </pc:sldMkLst>
        <pc:spChg chg="mod">
          <ac:chgData name="nicolas chevalier" userId="677dbc9f-a297-4ad6-b248-57777f1689e8" providerId="ADAL" clId="{64ADC240-B61B-40A0-9C7F-8FC5D84E98FB}" dt="2020-11-13T10:29:01.742" v="404" actId="6549"/>
          <ac:spMkLst>
            <pc:docMk/>
            <pc:sldMk cId="757630478" sldId="4643"/>
            <ac:spMk id="8" creationId="{3430D8BA-2783-4247-A5CC-BC7A759A21B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3CB644-1E1A-4AC4-BFA5-01808DF51EE0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899F75-696E-4013-A01C-7246610DFC2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4398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85B26E5-D748-4783-959F-BA7BF5B3BB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08F2B1C-94D0-42E7-9CD5-FF31EA70A0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0AD114D-20FD-4408-9F23-155072789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9F8CD97-489B-49E8-AF42-1AB580833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68E7C95-D341-42D5-84D7-A9FBC978D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7184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31BDE25-ACFD-4BD4-A024-77391C110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99D167D-948D-4486-9C2C-95511C3612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224B0A-1FB3-4343-B5C4-F5B3312B95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DD4F4B7-A217-411E-93AD-71D521B00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965C842-BDD8-497C-969F-789CB6142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8414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8E596221-B870-4EC7-B52D-B4A12E3EF1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3F700BBA-57DE-4D19-ACF1-C554CC2365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B80C45B-2B19-4255-939D-1DFF6CD76F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9346E45-C885-471D-97DD-DC1FE4B84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5A146BF-B604-4C73-83C2-DE1F3CA2E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63857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9981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365736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09600" y="753269"/>
            <a:ext cx="10972800" cy="2909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0" i="1">
                <a:solidFill>
                  <a:srgbClr val="27509B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52784" y="6626701"/>
            <a:ext cx="439216" cy="240059"/>
          </a:xfrm>
          <a:prstGeom prst="rect">
            <a:avLst/>
          </a:prstGeom>
        </p:spPr>
        <p:txBody>
          <a:bodyPr/>
          <a:lstStyle>
            <a:lvl1pPr>
              <a:defRPr sz="1067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3" y="708111"/>
            <a:ext cx="1274031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2133" y="3403601"/>
            <a:ext cx="50800" cy="3810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09600" y="1536095"/>
            <a:ext cx="10972800" cy="4590068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27509B"/>
              </a:buClr>
              <a:buFont typeface="Wingdings" charset="2"/>
              <a:buChar char=""/>
              <a:defRPr sz="2667" b="1" i="1" baseline="0">
                <a:solidFill>
                  <a:srgbClr val="27509B"/>
                </a:solidFill>
              </a:defRPr>
            </a:lvl1pPr>
            <a:lvl2pPr marL="990575" indent="-380990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523962" indent="-304792">
              <a:buClr>
                <a:srgbClr val="27509B"/>
              </a:buClr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133547" indent="-304792">
              <a:buClr>
                <a:srgbClr val="27509B"/>
              </a:buClr>
              <a:buFont typeface="Lucida Grande"/>
              <a:buChar char="▸"/>
              <a:defRPr sz="1867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743131" indent="-304792">
              <a:buClr>
                <a:srgbClr val="27509B"/>
              </a:buClr>
              <a:buFont typeface="Wingdings" panose="05000000000000000000" pitchFamily="2" charset="2"/>
              <a:buChar char="§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92579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365736"/>
          </a:xfrm>
          <a:prstGeom prst="rect">
            <a:avLst/>
          </a:prstGeom>
        </p:spPr>
        <p:txBody>
          <a:bodyPr/>
          <a:lstStyle>
            <a:lvl1pPr>
              <a:defRPr sz="24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09600" y="753269"/>
            <a:ext cx="10972800" cy="2909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0" i="1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09600" y="1536095"/>
            <a:ext cx="10972800" cy="4590068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FE500"/>
              </a:buClr>
              <a:buFont typeface="Wingdings" charset="2"/>
              <a:buChar char=""/>
              <a:defRPr sz="2667" b="1" i="1" baseline="0">
                <a:solidFill>
                  <a:schemeClr val="bg1"/>
                </a:solidFill>
              </a:defRPr>
            </a:lvl1pPr>
            <a:lvl2pPr marL="990575" indent="-38099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400" b="1">
                <a:solidFill>
                  <a:schemeClr val="bg1"/>
                </a:solidFill>
              </a:defRPr>
            </a:lvl2pPr>
            <a:lvl3pPr marL="1523962" indent="-304792">
              <a:buClr>
                <a:srgbClr val="FFE500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2133547" indent="-304792">
              <a:buClr>
                <a:srgbClr val="FFE500"/>
              </a:buClr>
              <a:buFont typeface="Lucida Grande"/>
              <a:buChar char="▸"/>
              <a:defRPr sz="1867" i="1">
                <a:solidFill>
                  <a:schemeClr val="bg1"/>
                </a:solidFill>
              </a:defRPr>
            </a:lvl4pPr>
            <a:lvl5pPr marL="2743131" indent="-304792">
              <a:buClr>
                <a:srgbClr val="FFE500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52784" y="6626701"/>
            <a:ext cx="439216" cy="240059"/>
          </a:xfrm>
          <a:prstGeom prst="rect">
            <a:avLst/>
          </a:prstGeom>
        </p:spPr>
        <p:txBody>
          <a:bodyPr/>
          <a:lstStyle>
            <a:lvl1pPr>
              <a:defRPr sz="1067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3" y="708111"/>
            <a:ext cx="1274031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2133" y="3403601"/>
            <a:ext cx="50800" cy="3810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4549" y="5339834"/>
            <a:ext cx="2757911" cy="1450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29195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365736"/>
          </a:xfrm>
          <a:prstGeom prst="rect">
            <a:avLst/>
          </a:prstGeom>
        </p:spPr>
        <p:txBody>
          <a:bodyPr/>
          <a:lstStyle>
            <a:lvl1pPr>
              <a:defRPr sz="240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09600" y="753269"/>
            <a:ext cx="10972800" cy="2909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0" i="1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52784" y="6626701"/>
            <a:ext cx="439216" cy="240059"/>
          </a:xfrm>
          <a:prstGeom prst="rect">
            <a:avLst/>
          </a:prstGeom>
        </p:spPr>
        <p:txBody>
          <a:bodyPr/>
          <a:lstStyle>
            <a:lvl1pPr>
              <a:defRPr sz="1067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3" y="708111"/>
            <a:ext cx="1274031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2133" y="3403601"/>
            <a:ext cx="50800" cy="3810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4549" y="5339834"/>
            <a:ext cx="2757911" cy="1450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09600" y="1536095"/>
            <a:ext cx="10972800" cy="4590068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FE500"/>
              </a:buClr>
              <a:buFont typeface="Wingdings" charset="2"/>
              <a:buChar char=""/>
              <a:defRPr sz="2667" b="1" i="1" baseline="0">
                <a:solidFill>
                  <a:schemeClr val="bg1"/>
                </a:solidFill>
              </a:defRPr>
            </a:lvl1pPr>
            <a:lvl2pPr marL="990575" indent="-380990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400" b="1">
                <a:solidFill>
                  <a:schemeClr val="bg1"/>
                </a:solidFill>
              </a:defRPr>
            </a:lvl2pPr>
            <a:lvl3pPr marL="1523962" indent="-304792">
              <a:buClr>
                <a:srgbClr val="FFE500"/>
              </a:buClr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3pPr>
            <a:lvl4pPr marL="2133547" indent="-304792">
              <a:buClr>
                <a:srgbClr val="FFE500"/>
              </a:buClr>
              <a:buFont typeface="Lucida Grande"/>
              <a:buChar char="▸"/>
              <a:defRPr sz="1867" i="1">
                <a:solidFill>
                  <a:schemeClr val="bg1"/>
                </a:solidFill>
              </a:defRPr>
            </a:lvl4pPr>
            <a:lvl5pPr marL="2743131" indent="-304792">
              <a:buClr>
                <a:srgbClr val="FFE500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744709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6177B-F258-44C5-91EF-9B59CF99F69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63C0C2-1D3F-43CF-A7BC-45BC79C8639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06475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98988" lvl="1"/>
            <a:endParaRPr lang="en-US" sz="1467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4316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 flipV="1">
            <a:off x="2" y="5803200"/>
            <a:ext cx="12191997" cy="10548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72719" tIns="36359" rIns="72719" bIns="36359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6522" dirty="0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2" y="0"/>
            <a:ext cx="12191997" cy="58032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72719" tIns="36359" rIns="72719" bIns="36359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6522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°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1044512" y="1"/>
            <a:ext cx="10102979" cy="3741441"/>
          </a:xfrm>
        </p:spPr>
        <p:txBody>
          <a:bodyPr anchor="b" anchorCtr="0">
            <a:noAutofit/>
          </a:bodyPr>
          <a:lstStyle>
            <a:lvl1pPr algn="ctr">
              <a:lnSpc>
                <a:spcPct val="80000"/>
              </a:lnSpc>
              <a:defRPr sz="7000" b="0" cap="all">
                <a:solidFill>
                  <a:schemeClr val="bg1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1"/>
          </p:nvPr>
        </p:nvSpPr>
        <p:spPr>
          <a:xfrm>
            <a:off x="1044512" y="3741442"/>
            <a:ext cx="10102979" cy="2061759"/>
          </a:xfrm>
        </p:spPr>
        <p:txBody>
          <a:bodyPr anchor="t" anchorCtr="0"/>
          <a:lstStyle>
            <a:lvl1pPr marL="0" indent="0" algn="ctr">
              <a:lnSpc>
                <a:spcPct val="80000"/>
              </a:lnSpc>
              <a:buNone/>
              <a:defRPr sz="3500">
                <a:solidFill>
                  <a:srgbClr val="B2B2B2"/>
                </a:solidFill>
              </a:defRPr>
            </a:lvl1pPr>
            <a:lvl2pPr marL="363657" indent="0">
              <a:buNone/>
              <a:defRPr sz="1432">
                <a:solidFill>
                  <a:schemeClr val="tx1">
                    <a:tint val="75000"/>
                  </a:schemeClr>
                </a:solidFill>
              </a:defRPr>
            </a:lvl2pPr>
            <a:lvl3pPr marL="727314" indent="0">
              <a:buNone/>
              <a:defRPr sz="1273">
                <a:solidFill>
                  <a:schemeClr val="tx1">
                    <a:tint val="75000"/>
                  </a:schemeClr>
                </a:solidFill>
              </a:defRPr>
            </a:lvl3pPr>
            <a:lvl4pPr marL="1090971" indent="0">
              <a:buNone/>
              <a:defRPr sz="1113">
                <a:solidFill>
                  <a:schemeClr val="tx1">
                    <a:tint val="75000"/>
                  </a:schemeClr>
                </a:solidFill>
              </a:defRPr>
            </a:lvl4pPr>
            <a:lvl5pPr marL="1454628" indent="0">
              <a:buNone/>
              <a:defRPr sz="1113">
                <a:solidFill>
                  <a:schemeClr val="tx1">
                    <a:tint val="75000"/>
                  </a:schemeClr>
                </a:solidFill>
              </a:defRPr>
            </a:lvl5pPr>
            <a:lvl6pPr marL="1818284" indent="0">
              <a:buNone/>
              <a:defRPr sz="1113">
                <a:solidFill>
                  <a:schemeClr val="tx1">
                    <a:tint val="75000"/>
                  </a:schemeClr>
                </a:solidFill>
              </a:defRPr>
            </a:lvl6pPr>
            <a:lvl7pPr marL="2181941" indent="0">
              <a:buNone/>
              <a:defRPr sz="1113">
                <a:solidFill>
                  <a:schemeClr val="tx1">
                    <a:tint val="75000"/>
                  </a:schemeClr>
                </a:solidFill>
              </a:defRPr>
            </a:lvl7pPr>
            <a:lvl8pPr marL="2545598" indent="0">
              <a:buNone/>
              <a:defRPr sz="1113">
                <a:solidFill>
                  <a:schemeClr val="tx1">
                    <a:tint val="75000"/>
                  </a:schemeClr>
                </a:solidFill>
              </a:defRPr>
            </a:lvl8pPr>
            <a:lvl9pPr marL="2909255" indent="0">
              <a:buNone/>
              <a:defRPr sz="111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7550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1F0AB9-E496-4522-B6A9-5D5447484D3D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40873-1309-4D30-ACC9-54C13625061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383803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98F358-CD43-428C-88C5-0741E4871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70A65CC-E51F-4EFA-AF94-212E0650C4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E36A4DD-16C8-4E0D-97D8-F465C8D31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789FDAF-DB4B-43A2-BB67-81C73448A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8E0D727-8244-462F-9A6B-10194CD7E9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9152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1677A78-72FB-487A-92A4-D4B505006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FF129E8-338F-454D-B7C4-AF6181E7F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214F76-9ABB-4ACC-BB4E-ECA7625E8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9AB278D-F0F9-4030-A44F-49532071A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92A2EC7-E292-46B3-B650-70D0096FF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62061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FDD7A7D-E13D-4CF3-AE25-51A61C5F8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8ACD731-3961-4FAD-9E88-0D2CFC7AD4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B460478-1768-4CC5-8A9D-0CB30C8CE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8A8C7C8-45EF-4629-85B8-5EA8E33E5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AD1971C-B221-4973-A432-7AEDEE898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3F1C9C0-8741-4761-9091-B39DEB15D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6760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B05B5B-0C96-4A39-8EB4-58EE683E6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6B5B32D-9DB0-4E2C-BCD7-64057369E8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2D0371A-1B89-483E-AEBE-4E0DD8FB70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F374311-EA96-40BF-BA3D-4123BAE816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F13D4FDD-979A-4137-969A-62D1FAE0F4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FA23B7E8-9320-4105-8079-34568DA6AD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1F85B28-9A71-4382-8F44-B942B21F5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55E0364-C6BE-41EF-BEA3-A61D47BF2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8229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2571BA-B8CC-473D-B82B-71D8A43BF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886E65B-673C-4ED0-B11F-534F1A4FF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CE1CFA4-1564-43BC-8A11-20FAD87EA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34D47D7-91EF-4593-BAD8-A3CD8D0CF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7809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D67D5BE-A957-43C3-A682-306D6A7889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C4EF5E1-45C8-44EB-9858-16E553AFE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7D4549A-B748-42F0-8495-248C740C0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1043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57A99EA-D62D-40D8-BD9D-5C7A6442C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A087A38-1A1A-45EF-9C25-876209381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5BE1A43-1F2B-4315-B949-721D82D23D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C450A24-2059-471F-A9A7-D4C664934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178E48E-E20F-431A-93D8-FA37A8D40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FA8F640-02DF-4CC7-915C-E835A1DAE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745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EE897C-2848-431D-80A4-C700E8698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DEDC294B-8EA2-4471-B210-FD1DA63E48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CC30FC8-D913-4B7F-994D-D33BE046AC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365BE30-8D4D-410E-B8F7-A7B4E2F1C9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F3D98BA-BD5D-4E16-B2E1-1485BD65B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E9ACD8D-25B9-4F95-8CF8-C04E4BA51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62534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49B2366-02AE-4A05-B276-60FBD04CD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5899A59-D10A-48AA-8B53-E5F4F906CA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DC59023-483A-4212-A541-38B8F9537A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0A7DCC-0D43-4230-8345-3196AED0FA78}" type="datetimeFigureOut">
              <a:rPr lang="fr-FR" smtClean="0"/>
              <a:t>02/02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097740F-553C-4DA8-AEFE-CE15E391BE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E2A15C-F7D8-42DC-B0DC-BC455948FD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4115BB-1000-4CDC-89F7-03ECB379C32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8957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1182491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3420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</p:sldLayoutIdLst>
  <p:txStyles>
    <p:titleStyle>
      <a:lvl1pPr algn="l" defTabSz="609585" rtl="0" eaLnBrk="1" latinLnBrk="0" hangingPunct="1">
        <a:spcBef>
          <a:spcPct val="0"/>
        </a:spcBef>
        <a:buNone/>
        <a:defRPr sz="2667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320" y="410830"/>
            <a:ext cx="11134798" cy="107312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320" y="1483952"/>
            <a:ext cx="11134798" cy="4247998"/>
          </a:xfrm>
          <a:prstGeom prst="rect">
            <a:avLst/>
          </a:prstGeom>
        </p:spPr>
        <p:txBody>
          <a:bodyPr vert="horz" lIns="1080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80394" y="6152561"/>
            <a:ext cx="6829706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954">
                <a:solidFill>
                  <a:srgbClr val="7F7F7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320" y="6152561"/>
            <a:ext cx="914426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54">
                <a:solidFill>
                  <a:srgbClr val="7F7F7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562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8" r:id="rId2"/>
  </p:sldLayoutIdLst>
  <p:txStyles>
    <p:titleStyle>
      <a:lvl1pPr algn="l" defTabSz="727314" rtl="0" eaLnBrk="1" latinLnBrk="0" hangingPunct="1">
        <a:spcBef>
          <a:spcPct val="0"/>
        </a:spcBef>
        <a:buNone/>
        <a:defRPr sz="2863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7184" indent="-217184" algn="l" defTabSz="727314" rtl="0" eaLnBrk="1" latinLnBrk="0" hangingPunct="1">
        <a:spcBef>
          <a:spcPts val="0"/>
        </a:spcBef>
        <a:spcAft>
          <a:spcPts val="795"/>
        </a:spcAft>
        <a:buFont typeface="Wingdings" panose="05000000000000000000" pitchFamily="2" charset="2"/>
        <a:buChar char="§"/>
        <a:defRPr sz="175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642713" indent="-217184" algn="l" defTabSz="727314" rtl="0" eaLnBrk="1" latinLnBrk="0" hangingPunct="1">
        <a:spcBef>
          <a:spcPts val="0"/>
        </a:spcBef>
        <a:spcAft>
          <a:spcPts val="795"/>
        </a:spcAft>
        <a:buFont typeface="Symbol" panose="05050102010706020507" pitchFamily="18" charset="2"/>
        <a:buChar char="-"/>
        <a:defRPr sz="1591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859898" indent="-141422" algn="l" defTabSz="727314" rtl="0" eaLnBrk="1" latinLnBrk="0" hangingPunct="1">
        <a:spcBef>
          <a:spcPts val="0"/>
        </a:spcBef>
        <a:spcAft>
          <a:spcPts val="795"/>
        </a:spcAft>
        <a:buFont typeface="Symbol" panose="05050102010706020507" pitchFamily="18" charset="2"/>
        <a:buChar char="-"/>
        <a:defRPr sz="1432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142742" indent="-141422" algn="l" defTabSz="727314" rtl="0" eaLnBrk="1" latinLnBrk="0" hangingPunct="1">
        <a:spcBef>
          <a:spcPts val="0"/>
        </a:spcBef>
        <a:spcAft>
          <a:spcPts val="795"/>
        </a:spcAft>
        <a:buFont typeface="Symbol" panose="05050102010706020507" pitchFamily="18" charset="2"/>
        <a:buChar char="-"/>
        <a:defRPr sz="1273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426848" indent="-142685" algn="l" defTabSz="727314" rtl="0" eaLnBrk="1" latinLnBrk="0" hangingPunct="1">
        <a:spcBef>
          <a:spcPts val="0"/>
        </a:spcBef>
        <a:spcAft>
          <a:spcPts val="795"/>
        </a:spcAft>
        <a:buFont typeface="Symbol" panose="05050102010706020507" pitchFamily="18" charset="2"/>
        <a:buChar char="-"/>
        <a:defRPr sz="1273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000113" indent="-181829" algn="l" defTabSz="7273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591" kern="1200">
          <a:solidFill>
            <a:schemeClr val="tx1"/>
          </a:solidFill>
          <a:latin typeface="+mn-lt"/>
          <a:ea typeface="+mn-ea"/>
          <a:cs typeface="+mn-cs"/>
        </a:defRPr>
      </a:lvl6pPr>
      <a:lvl7pPr marL="2363770" indent="-181829" algn="l" defTabSz="7273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591" kern="1200">
          <a:solidFill>
            <a:schemeClr val="tx1"/>
          </a:solidFill>
          <a:latin typeface="+mn-lt"/>
          <a:ea typeface="+mn-ea"/>
          <a:cs typeface="+mn-cs"/>
        </a:defRPr>
      </a:lvl7pPr>
      <a:lvl8pPr marL="2727427" indent="-181829" algn="l" defTabSz="7273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591" kern="1200">
          <a:solidFill>
            <a:schemeClr val="tx1"/>
          </a:solidFill>
          <a:latin typeface="+mn-lt"/>
          <a:ea typeface="+mn-ea"/>
          <a:cs typeface="+mn-cs"/>
        </a:defRPr>
      </a:lvl8pPr>
      <a:lvl9pPr marL="3091084" indent="-181829" algn="l" defTabSz="7273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5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1pPr>
      <a:lvl2pPr marL="363657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2pPr>
      <a:lvl3pPr marL="727314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3pPr>
      <a:lvl4pPr marL="1090971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4pPr>
      <a:lvl5pPr marL="1454628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5pPr>
      <a:lvl6pPr marL="1818284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6pPr>
      <a:lvl7pPr marL="2181941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7pPr>
      <a:lvl8pPr marL="2545598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8pPr>
      <a:lvl9pPr marL="2909255" algn="l" defTabSz="727314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apache.org/licenses/LICENSE-2.0" TargetMode="Externa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ntinuousarc-onh6387.slack.com/archives/C01C9MXJMGE" TargetMode="External"/><Relationship Id="rId5" Type="http://schemas.openxmlformats.org/officeDocument/2006/relationships/image" Target="../media/image16.png"/><Relationship Id="rId10" Type="http://schemas.openxmlformats.org/officeDocument/2006/relationships/image" Target="../media/image19.png"/><Relationship Id="rId4" Type="http://schemas.openxmlformats.org/officeDocument/2006/relationships/hyperlink" Target="https://www.linkedin.com/company/continuous-architecture/?viewAsMember=true" TargetMode="External"/><Relationship Id="rId9" Type="http://schemas.openxmlformats.org/officeDocument/2006/relationships/hyperlink" Target="https://github.com/michelin/Continuous-Architecture-Toolkit/blob/master/CONTRIBUTING.md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34861241+tfraudet@users.noreply.github.com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hyperlink" Target="mailto:nch.nicolas.chevalier@gmail.com" TargetMode="External"/><Relationship Id="rId4" Type="http://schemas.openxmlformats.org/officeDocument/2006/relationships/hyperlink" Target="mailto:ojauze@gmail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B36DAA91-54CB-4753-9A9C-6EDF21D09694}"/>
              </a:ext>
            </a:extLst>
          </p:cNvPr>
          <p:cNvSpPr txBox="1"/>
          <p:nvPr/>
        </p:nvSpPr>
        <p:spPr>
          <a:xfrm>
            <a:off x="0" y="5657671"/>
            <a:ext cx="12192000" cy="1200329"/>
          </a:xfrm>
          <a:prstGeom prst="rect">
            <a:avLst/>
          </a:prstGeom>
          <a:solidFill>
            <a:srgbClr val="6CC43E"/>
          </a:solidFill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For Digital and Agile enterprises wanting to </a:t>
            </a:r>
            <a:r>
              <a:rPr lang="en-US" b="0" i="0" dirty="0">
                <a:solidFill>
                  <a:schemeClr val="bg1"/>
                </a:solidFill>
                <a:effectLst/>
                <a:latin typeface="Montserrat Black" panose="00000A00000000000000" pitchFamily="50" charset="0"/>
              </a:rPr>
              <a:t>leverage the architecture discipline </a:t>
            </a:r>
            <a:r>
              <a:rPr lang="en-US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to better steer their transformation journey while coping with the exponential flow of changes. Continuous Architecture </a:t>
            </a:r>
            <a:r>
              <a:rPr lang="en-US" dirty="0">
                <a:solidFill>
                  <a:srgbClr val="24292E"/>
                </a:solidFill>
                <a:latin typeface="Montserrat" panose="02000505000000020004" pitchFamily="2" charset="0"/>
              </a:rPr>
              <a:t>Toolkit provides </a:t>
            </a:r>
            <a:r>
              <a:rPr lang="en-US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materials (posters, kits, roles description, rituals) to frame the new way of doing architecture and </a:t>
            </a:r>
            <a:r>
              <a:rPr lang="en-US" dirty="0">
                <a:solidFill>
                  <a:schemeClr val="bg1"/>
                </a:solidFill>
                <a:latin typeface="Montserrat Black" panose="00000A00000000000000" pitchFamily="50" charset="0"/>
              </a:rPr>
              <a:t>accelerate the change </a:t>
            </a:r>
            <a:r>
              <a:rPr lang="en-US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among architects, delivery and operation teams.</a:t>
            </a:r>
            <a:endParaRPr lang="fr-FR" dirty="0">
              <a:latin typeface="Montserrat" panose="02000505000000020004" pitchFamily="2" charset="0"/>
            </a:endParaRPr>
          </a:p>
        </p:txBody>
      </p:sp>
      <p:pic>
        <p:nvPicPr>
          <p:cNvPr id="89" name="Graphique 88">
            <a:extLst>
              <a:ext uri="{FF2B5EF4-FFF2-40B4-BE49-F238E27FC236}">
                <a16:creationId xmlns:a16="http://schemas.microsoft.com/office/drawing/2014/main" id="{540575EB-66BB-4EF8-B322-3B2654321F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4586" y="829836"/>
            <a:ext cx="2527054" cy="3270306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1472FC93-D5EC-421E-BDE7-BC8FF1DEAF51}"/>
              </a:ext>
            </a:extLst>
          </p:cNvPr>
          <p:cNvSpPr/>
          <p:nvPr/>
        </p:nvSpPr>
        <p:spPr>
          <a:xfrm>
            <a:off x="2229350" y="729289"/>
            <a:ext cx="705093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800" b="1" i="1" dirty="0">
                <a:solidFill>
                  <a:srgbClr val="00B06E"/>
                </a:solidFill>
                <a:latin typeface="Montserrat Black" panose="00000A00000000000000" pitchFamily="50" charset="0"/>
              </a:rPr>
              <a:t>CONTINUOUS</a:t>
            </a:r>
          </a:p>
          <a:p>
            <a:pPr algn="ctr"/>
            <a:r>
              <a:rPr lang="en-US" sz="4800" b="1" i="1" dirty="0">
                <a:solidFill>
                  <a:srgbClr val="00B06E"/>
                </a:solidFill>
                <a:latin typeface="Montserrat Black" panose="00000A00000000000000" pitchFamily="50" charset="0"/>
              </a:rPr>
              <a:t>ARCHITECTURE</a:t>
            </a:r>
            <a:endParaRPr lang="fr-FR" sz="4800" b="1" i="1" dirty="0">
              <a:solidFill>
                <a:srgbClr val="00B06E"/>
              </a:solidFill>
              <a:latin typeface="Montserrat Black" panose="00000A00000000000000" pitchFamily="50" charset="0"/>
            </a:endParaRPr>
          </a:p>
        </p:txBody>
      </p:sp>
      <p:sp>
        <p:nvSpPr>
          <p:cNvPr id="92" name="ZoneTexte 91">
            <a:extLst>
              <a:ext uri="{FF2B5EF4-FFF2-40B4-BE49-F238E27FC236}">
                <a16:creationId xmlns:a16="http://schemas.microsoft.com/office/drawing/2014/main" id="{056A50C1-6280-44EB-BCFF-883D460DD252}"/>
              </a:ext>
            </a:extLst>
          </p:cNvPr>
          <p:cNvSpPr txBox="1"/>
          <p:nvPr/>
        </p:nvSpPr>
        <p:spPr>
          <a:xfrm>
            <a:off x="3942270" y="2513831"/>
            <a:ext cx="6521337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5400" b="1" i="1" dirty="0">
                <a:solidFill>
                  <a:srgbClr val="00B06E"/>
                </a:solidFill>
                <a:latin typeface="Montserrat Black" panose="00000A00000000000000" pitchFamily="50" charset="0"/>
              </a:rPr>
              <a:t>IS </a:t>
            </a:r>
          </a:p>
          <a:p>
            <a:pPr algn="ctr"/>
            <a:endParaRPr lang="fr-FR" sz="2800" b="1" i="1" dirty="0">
              <a:solidFill>
                <a:srgbClr val="00B06E"/>
              </a:solidFill>
              <a:latin typeface="Montserrat Black" panose="00000A00000000000000" pitchFamily="50" charset="0"/>
            </a:endParaRPr>
          </a:p>
          <a:p>
            <a:pPr algn="ctr"/>
            <a:r>
              <a:rPr lang="fr-FR" sz="2800" b="1" i="1" dirty="0">
                <a:solidFill>
                  <a:srgbClr val="00B06E"/>
                </a:solidFill>
                <a:latin typeface="Montserrat Black" panose="00000A00000000000000" pitchFamily="50" charset="0"/>
              </a:rPr>
              <a:t>AN </a:t>
            </a:r>
            <a:r>
              <a:rPr lang="fr-FR" sz="3600" b="1" i="1" dirty="0">
                <a:solidFill>
                  <a:schemeClr val="tx2"/>
                </a:solidFill>
                <a:latin typeface="Montserrat Black" panose="00000A00000000000000" pitchFamily="50" charset="0"/>
              </a:rPr>
              <a:t>OPEN SOURCE </a:t>
            </a:r>
            <a:r>
              <a:rPr lang="fr-FR" sz="2800" b="1" i="1" dirty="0">
                <a:solidFill>
                  <a:srgbClr val="00B06E"/>
                </a:solidFill>
                <a:latin typeface="Montserrat Black" panose="00000A00000000000000" pitchFamily="50" charset="0"/>
              </a:rPr>
              <a:t>INITIATIVE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91FD70F2-9665-4CA1-AA04-C377F97F62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3607" y="3621607"/>
            <a:ext cx="9525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3724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C4B62B3-BFCF-40BA-8AFC-439067410276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solidFill>
            <a:srgbClr val="27348B"/>
          </a:solidFill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Montserrat" panose="02000505000000020004" pitchFamily="2" charset="0"/>
              </a:rPr>
              <a:t>Continuous architecture materials are distributed under </a:t>
            </a:r>
            <a:r>
              <a:rPr lang="en-US" dirty="0">
                <a:solidFill>
                  <a:schemeClr val="bg1"/>
                </a:solidFill>
                <a:latin typeface="Montserrat Black" panose="00000A00000000000000" pitchFamily="50" charset="0"/>
              </a:rPr>
              <a:t>Apache License 2.0 </a:t>
            </a:r>
            <a:r>
              <a:rPr lang="en-US" dirty="0">
                <a:solidFill>
                  <a:schemeClr val="bg1"/>
                </a:solidFill>
                <a:latin typeface="Montserrat" panose="02000505000000020004" pitchFamily="2" charset="0"/>
              </a:rPr>
              <a:t>apart from illustrations which are distributed under </a:t>
            </a:r>
            <a:r>
              <a:rPr lang="en-US" dirty="0">
                <a:solidFill>
                  <a:schemeClr val="bg1"/>
                </a:solidFill>
                <a:latin typeface="Montserrat Black" panose="00000A00000000000000" pitchFamily="50" charset="0"/>
              </a:rPr>
              <a:t>Creative Common Attribution </a:t>
            </a:r>
            <a:r>
              <a:rPr lang="en-US" dirty="0" err="1">
                <a:solidFill>
                  <a:schemeClr val="bg1"/>
                </a:solidFill>
                <a:latin typeface="Montserrat Black" panose="00000A00000000000000" pitchFamily="50" charset="0"/>
              </a:rPr>
              <a:t>ShareAlike</a:t>
            </a:r>
            <a:r>
              <a:rPr lang="en-US" dirty="0">
                <a:solidFill>
                  <a:schemeClr val="bg1"/>
                </a:solidFill>
                <a:latin typeface="Montserrat Black" panose="00000A00000000000000" pitchFamily="50" charset="0"/>
              </a:rPr>
              <a:t> 4.0 International License.</a:t>
            </a:r>
            <a:endParaRPr lang="fr-FR" dirty="0">
              <a:solidFill>
                <a:schemeClr val="bg1"/>
              </a:solidFill>
              <a:latin typeface="Montserrat Black" panose="00000A00000000000000" pitchFamily="50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C3DB6B-F519-4296-B00E-CF6066F51D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1092" y="1200589"/>
            <a:ext cx="3155869" cy="110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7217568-AA64-40A1-86CE-2058D2BB3D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8491" y="1200589"/>
            <a:ext cx="3155869" cy="15349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296BBCC-25D7-43E4-84A2-A98EF43CFBB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739" t="43598" r="37020" b="30476"/>
          <a:stretch/>
        </p:blipFill>
        <p:spPr>
          <a:xfrm>
            <a:off x="6245860" y="2985683"/>
            <a:ext cx="5420698" cy="1902682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79DA9AB1-FFB7-4B5C-9F82-CFC7216130CF}"/>
              </a:ext>
            </a:extLst>
          </p:cNvPr>
          <p:cNvSpPr txBox="1"/>
          <p:nvPr/>
        </p:nvSpPr>
        <p:spPr>
          <a:xfrm>
            <a:off x="1248491" y="2985683"/>
            <a:ext cx="61214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hlinkClick r:id="rId5"/>
              </a:rPr>
              <a:t>Apache License, Version 2.0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50188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369356E8-42C4-48CA-8A93-C38EF3539737}"/>
              </a:ext>
            </a:extLst>
          </p:cNvPr>
          <p:cNvSpPr/>
          <p:nvPr/>
        </p:nvSpPr>
        <p:spPr>
          <a:xfrm>
            <a:off x="7440375" y="2252842"/>
            <a:ext cx="2190750" cy="489209"/>
          </a:xfrm>
          <a:custGeom>
            <a:avLst/>
            <a:gdLst>
              <a:gd name="connsiteX0" fmla="*/ 0 w 2190750"/>
              <a:gd name="connsiteY0" fmla="*/ 0 h 1108450"/>
              <a:gd name="connsiteX1" fmla="*/ 1190625 w 2190750"/>
              <a:gd name="connsiteY1" fmla="*/ 209550 h 1108450"/>
              <a:gd name="connsiteX2" fmla="*/ 1457325 w 2190750"/>
              <a:gd name="connsiteY2" fmla="*/ 990600 h 1108450"/>
              <a:gd name="connsiteX3" fmla="*/ 2190750 w 2190750"/>
              <a:gd name="connsiteY3" fmla="*/ 1104900 h 1108450"/>
              <a:gd name="connsiteX4" fmla="*/ 2190750 w 2190750"/>
              <a:gd name="connsiteY4" fmla="*/ 1104900 h 1108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0750" h="1108450">
                <a:moveTo>
                  <a:pt x="0" y="0"/>
                </a:moveTo>
                <a:cubicBezTo>
                  <a:pt x="473868" y="22225"/>
                  <a:pt x="947737" y="44450"/>
                  <a:pt x="1190625" y="209550"/>
                </a:cubicBezTo>
                <a:cubicBezTo>
                  <a:pt x="1433513" y="374650"/>
                  <a:pt x="1290638" y="841375"/>
                  <a:pt x="1457325" y="990600"/>
                </a:cubicBezTo>
                <a:cubicBezTo>
                  <a:pt x="1624012" y="1139825"/>
                  <a:pt x="2190750" y="1104900"/>
                  <a:pt x="2190750" y="1104900"/>
                </a:cubicBezTo>
                <a:lnTo>
                  <a:pt x="2190750" y="1104900"/>
                </a:lnTo>
              </a:path>
            </a:pathLst>
          </a:custGeom>
          <a:noFill/>
          <a:ln>
            <a:solidFill>
              <a:srgbClr val="00A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A19A"/>
              </a:solidFill>
            </a:endParaRPr>
          </a:p>
        </p:txBody>
      </p:sp>
      <p:sp>
        <p:nvSpPr>
          <p:cNvPr id="5" name="Forme libre : forme 4">
            <a:extLst>
              <a:ext uri="{FF2B5EF4-FFF2-40B4-BE49-F238E27FC236}">
                <a16:creationId xmlns:a16="http://schemas.microsoft.com/office/drawing/2014/main" id="{D25084F1-F025-4C57-8764-BEB188CD9814}"/>
              </a:ext>
            </a:extLst>
          </p:cNvPr>
          <p:cNvSpPr/>
          <p:nvPr/>
        </p:nvSpPr>
        <p:spPr>
          <a:xfrm>
            <a:off x="3182824" y="1126317"/>
            <a:ext cx="1590675" cy="921780"/>
          </a:xfrm>
          <a:custGeom>
            <a:avLst/>
            <a:gdLst>
              <a:gd name="connsiteX0" fmla="*/ 0 w 2190750"/>
              <a:gd name="connsiteY0" fmla="*/ 0 h 1108450"/>
              <a:gd name="connsiteX1" fmla="*/ 1190625 w 2190750"/>
              <a:gd name="connsiteY1" fmla="*/ 209550 h 1108450"/>
              <a:gd name="connsiteX2" fmla="*/ 1457325 w 2190750"/>
              <a:gd name="connsiteY2" fmla="*/ 990600 h 1108450"/>
              <a:gd name="connsiteX3" fmla="*/ 2190750 w 2190750"/>
              <a:gd name="connsiteY3" fmla="*/ 1104900 h 1108450"/>
              <a:gd name="connsiteX4" fmla="*/ 2190750 w 2190750"/>
              <a:gd name="connsiteY4" fmla="*/ 1104900 h 1108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0750" h="1108450">
                <a:moveTo>
                  <a:pt x="0" y="0"/>
                </a:moveTo>
                <a:cubicBezTo>
                  <a:pt x="473868" y="22225"/>
                  <a:pt x="947737" y="44450"/>
                  <a:pt x="1190625" y="209550"/>
                </a:cubicBezTo>
                <a:cubicBezTo>
                  <a:pt x="1433513" y="374650"/>
                  <a:pt x="1290638" y="841375"/>
                  <a:pt x="1457325" y="990600"/>
                </a:cubicBezTo>
                <a:cubicBezTo>
                  <a:pt x="1624012" y="1139825"/>
                  <a:pt x="2190750" y="1104900"/>
                  <a:pt x="2190750" y="1104900"/>
                </a:cubicBezTo>
                <a:lnTo>
                  <a:pt x="2190750" y="1104900"/>
                </a:lnTo>
              </a:path>
            </a:pathLst>
          </a:custGeom>
          <a:noFill/>
          <a:ln>
            <a:solidFill>
              <a:srgbClr val="2734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960699B5-D59D-41D0-935F-D91ACBEA4235}"/>
              </a:ext>
            </a:extLst>
          </p:cNvPr>
          <p:cNvSpPr/>
          <p:nvPr/>
        </p:nvSpPr>
        <p:spPr>
          <a:xfrm flipV="1">
            <a:off x="3264409" y="3702489"/>
            <a:ext cx="2190750" cy="646332"/>
          </a:xfrm>
          <a:custGeom>
            <a:avLst/>
            <a:gdLst>
              <a:gd name="connsiteX0" fmla="*/ 0 w 2190750"/>
              <a:gd name="connsiteY0" fmla="*/ 0 h 1108450"/>
              <a:gd name="connsiteX1" fmla="*/ 1190625 w 2190750"/>
              <a:gd name="connsiteY1" fmla="*/ 209550 h 1108450"/>
              <a:gd name="connsiteX2" fmla="*/ 1457325 w 2190750"/>
              <a:gd name="connsiteY2" fmla="*/ 990600 h 1108450"/>
              <a:gd name="connsiteX3" fmla="*/ 2190750 w 2190750"/>
              <a:gd name="connsiteY3" fmla="*/ 1104900 h 1108450"/>
              <a:gd name="connsiteX4" fmla="*/ 2190750 w 2190750"/>
              <a:gd name="connsiteY4" fmla="*/ 1104900 h 1108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0750" h="1108450">
                <a:moveTo>
                  <a:pt x="0" y="0"/>
                </a:moveTo>
                <a:cubicBezTo>
                  <a:pt x="473868" y="22225"/>
                  <a:pt x="947737" y="44450"/>
                  <a:pt x="1190625" y="209550"/>
                </a:cubicBezTo>
                <a:cubicBezTo>
                  <a:pt x="1433513" y="374650"/>
                  <a:pt x="1290638" y="841375"/>
                  <a:pt x="1457325" y="990600"/>
                </a:cubicBezTo>
                <a:cubicBezTo>
                  <a:pt x="1624012" y="1139825"/>
                  <a:pt x="2190750" y="1104900"/>
                  <a:pt x="2190750" y="1104900"/>
                </a:cubicBezTo>
                <a:lnTo>
                  <a:pt x="2190750" y="1104900"/>
                </a:lnTo>
              </a:path>
            </a:pathLst>
          </a:custGeom>
          <a:noFill/>
          <a:ln>
            <a:solidFill>
              <a:srgbClr val="DED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F87E0542-3A3A-486D-BEB3-20E6D4BF5D10}"/>
              </a:ext>
            </a:extLst>
          </p:cNvPr>
          <p:cNvSpPr/>
          <p:nvPr/>
        </p:nvSpPr>
        <p:spPr>
          <a:xfrm>
            <a:off x="5585935" y="3833343"/>
            <a:ext cx="2190750" cy="956050"/>
          </a:xfrm>
          <a:custGeom>
            <a:avLst/>
            <a:gdLst>
              <a:gd name="connsiteX0" fmla="*/ 0 w 2190750"/>
              <a:gd name="connsiteY0" fmla="*/ 0 h 1108450"/>
              <a:gd name="connsiteX1" fmla="*/ 1190625 w 2190750"/>
              <a:gd name="connsiteY1" fmla="*/ 209550 h 1108450"/>
              <a:gd name="connsiteX2" fmla="*/ 1457325 w 2190750"/>
              <a:gd name="connsiteY2" fmla="*/ 990600 h 1108450"/>
              <a:gd name="connsiteX3" fmla="*/ 2190750 w 2190750"/>
              <a:gd name="connsiteY3" fmla="*/ 1104900 h 1108450"/>
              <a:gd name="connsiteX4" fmla="*/ 2190750 w 2190750"/>
              <a:gd name="connsiteY4" fmla="*/ 1104900 h 1108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0750" h="1108450">
                <a:moveTo>
                  <a:pt x="0" y="0"/>
                </a:moveTo>
                <a:cubicBezTo>
                  <a:pt x="473868" y="22225"/>
                  <a:pt x="947737" y="44450"/>
                  <a:pt x="1190625" y="209550"/>
                </a:cubicBezTo>
                <a:cubicBezTo>
                  <a:pt x="1433513" y="374650"/>
                  <a:pt x="1290638" y="841375"/>
                  <a:pt x="1457325" y="990600"/>
                </a:cubicBezTo>
                <a:cubicBezTo>
                  <a:pt x="1624012" y="1139825"/>
                  <a:pt x="2190750" y="1104900"/>
                  <a:pt x="2190750" y="1104900"/>
                </a:cubicBezTo>
                <a:lnTo>
                  <a:pt x="2190750" y="1104900"/>
                </a:lnTo>
              </a:path>
            </a:pathLst>
          </a:custGeom>
          <a:noFill/>
          <a:ln>
            <a:solidFill>
              <a:srgbClr val="8064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3D7FC6E-4608-4554-8644-B924FD51049C}"/>
              </a:ext>
            </a:extLst>
          </p:cNvPr>
          <p:cNvSpPr/>
          <p:nvPr/>
        </p:nvSpPr>
        <p:spPr>
          <a:xfrm>
            <a:off x="7616837" y="5369253"/>
            <a:ext cx="18378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i="1" dirty="0">
                <a:solidFill>
                  <a:srgbClr val="8064A2"/>
                </a:solidFill>
                <a:latin typeface="Montserrat Black" panose="00000A00000000000000" pitchFamily="50" charset="0"/>
              </a:rPr>
              <a:t>BUSINESS</a:t>
            </a:r>
          </a:p>
          <a:p>
            <a:pPr algn="ctr"/>
            <a:r>
              <a:rPr lang="en-US" sz="2000" b="1" i="1" dirty="0">
                <a:solidFill>
                  <a:srgbClr val="8064A2"/>
                </a:solidFill>
                <a:latin typeface="Montserrat Black" panose="00000A00000000000000" pitchFamily="50" charset="0"/>
              </a:rPr>
              <a:t>ARCHITECT</a:t>
            </a:r>
            <a:endParaRPr lang="fr-FR" sz="2000" b="1" i="1" dirty="0">
              <a:solidFill>
                <a:srgbClr val="8064A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49FD70-8284-4CB8-89F3-5F84805DE7E9}"/>
              </a:ext>
            </a:extLst>
          </p:cNvPr>
          <p:cNvSpPr/>
          <p:nvPr/>
        </p:nvSpPr>
        <p:spPr>
          <a:xfrm>
            <a:off x="1606166" y="5077392"/>
            <a:ext cx="18378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i="1" dirty="0">
                <a:solidFill>
                  <a:srgbClr val="DEDC00"/>
                </a:solidFill>
                <a:latin typeface="Montserrat Black" panose="00000A00000000000000" pitchFamily="50" charset="0"/>
              </a:rPr>
              <a:t>PRODUCT</a:t>
            </a:r>
          </a:p>
          <a:p>
            <a:pPr algn="ctr"/>
            <a:r>
              <a:rPr lang="en-US" sz="2000" b="1" i="1" dirty="0">
                <a:solidFill>
                  <a:srgbClr val="DEDC00"/>
                </a:solidFill>
                <a:latin typeface="Montserrat Black" panose="00000A00000000000000" pitchFamily="50" charset="0"/>
              </a:rPr>
              <a:t>ARCHITECT</a:t>
            </a:r>
            <a:endParaRPr lang="fr-FR" sz="2000" b="1" i="1" dirty="0">
              <a:solidFill>
                <a:srgbClr val="DEDC00"/>
              </a:solidFill>
              <a:latin typeface="Montserrat Black" panose="00000A00000000000000" pitchFamily="5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FDE8C2A-D017-4DB4-B009-724230CEB9A4}"/>
              </a:ext>
            </a:extLst>
          </p:cNvPr>
          <p:cNvSpPr/>
          <p:nvPr/>
        </p:nvSpPr>
        <p:spPr>
          <a:xfrm>
            <a:off x="9495563" y="3447369"/>
            <a:ext cx="18378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i="1" dirty="0">
                <a:solidFill>
                  <a:srgbClr val="00A19A"/>
                </a:solidFill>
                <a:latin typeface="Montserrat Black" panose="00000A00000000000000" pitchFamily="50" charset="0"/>
              </a:rPr>
              <a:t>FULL STACK ARCHITECT</a:t>
            </a:r>
            <a:endParaRPr lang="fr-FR" sz="2000" b="1" i="1" dirty="0">
              <a:solidFill>
                <a:srgbClr val="00A19A"/>
              </a:solidFill>
              <a:latin typeface="Montserrat Black" panose="00000A00000000000000" pitchFamily="5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546D533-980F-470B-8DCE-909F6D58C12A}"/>
              </a:ext>
            </a:extLst>
          </p:cNvPr>
          <p:cNvSpPr/>
          <p:nvPr/>
        </p:nvSpPr>
        <p:spPr>
          <a:xfrm>
            <a:off x="1220600" y="1727664"/>
            <a:ext cx="260895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i="1" dirty="0">
                <a:solidFill>
                  <a:srgbClr val="27348B"/>
                </a:solidFill>
                <a:latin typeface="Montserrat Black" panose="00000A00000000000000" pitchFamily="50" charset="0"/>
              </a:rPr>
              <a:t>ENTERPRISE ARCHITECT</a:t>
            </a:r>
            <a:endParaRPr lang="fr-FR" sz="2000" b="1" i="1" dirty="0">
              <a:solidFill>
                <a:srgbClr val="27348B"/>
              </a:solidFill>
              <a:latin typeface="Montserrat Black" panose="00000A00000000000000" pitchFamily="50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1DC31E1-0F5C-4627-B405-B89D6563C2A3}"/>
              </a:ext>
            </a:extLst>
          </p:cNvPr>
          <p:cNvSpPr txBox="1"/>
          <p:nvPr/>
        </p:nvSpPr>
        <p:spPr>
          <a:xfrm>
            <a:off x="8913" y="6206119"/>
            <a:ext cx="12192000" cy="646331"/>
          </a:xfrm>
          <a:prstGeom prst="rect">
            <a:avLst/>
          </a:prstGeom>
          <a:solidFill>
            <a:srgbClr val="6CC43E"/>
          </a:solidFill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24292E"/>
                </a:solidFill>
                <a:latin typeface="Montserrat" panose="02000505000000020004" pitchFamily="2" charset="0"/>
              </a:rPr>
              <a:t>Continuous Architecture Toolkit deals with </a:t>
            </a:r>
            <a:r>
              <a:rPr lang="en-US" dirty="0">
                <a:solidFill>
                  <a:schemeClr val="bg1"/>
                </a:solidFill>
                <a:latin typeface="Montserrat Black" panose="00000A00000000000000" pitchFamily="50" charset="0"/>
              </a:rPr>
              <a:t>architecture practice as a whole </a:t>
            </a:r>
            <a:r>
              <a:rPr lang="en-US" dirty="0">
                <a:solidFill>
                  <a:srgbClr val="24292E"/>
                </a:solidFill>
                <a:latin typeface="Montserrat" panose="02000505000000020004" pitchFamily="2" charset="0"/>
              </a:rPr>
              <a:t>and can be useful for all persons involved in architecture activities whatever its role. </a:t>
            </a:r>
            <a:endParaRPr lang="fr-FR" dirty="0">
              <a:latin typeface="Montserrat" panose="02000505000000020004" pitchFamily="2" charset="0"/>
            </a:endParaRP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B22309A9-CAC1-4F9E-B447-0C2103BFBE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283" y="4009092"/>
            <a:ext cx="1372159" cy="1372159"/>
          </a:xfrm>
          <a:prstGeom prst="rect">
            <a:avLst/>
          </a:prstGeom>
        </p:spPr>
      </p:pic>
      <p:pic>
        <p:nvPicPr>
          <p:cNvPr id="24" name="Graphique 23">
            <a:extLst>
              <a:ext uri="{FF2B5EF4-FFF2-40B4-BE49-F238E27FC236}">
                <a16:creationId xmlns:a16="http://schemas.microsoft.com/office/drawing/2014/main" id="{6267C0DF-F3F1-4ADF-AEC4-19DFA5312BE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1288" b="47599"/>
          <a:stretch/>
        </p:blipFill>
        <p:spPr>
          <a:xfrm>
            <a:off x="1757098" y="3682333"/>
            <a:ext cx="1458133" cy="1535995"/>
          </a:xfrm>
          <a:prstGeom prst="rect">
            <a:avLst/>
          </a:prstGeom>
        </p:spPr>
      </p:pic>
      <p:pic>
        <p:nvPicPr>
          <p:cNvPr id="25" name="Graphique 24">
            <a:extLst>
              <a:ext uri="{FF2B5EF4-FFF2-40B4-BE49-F238E27FC236}">
                <a16:creationId xmlns:a16="http://schemas.microsoft.com/office/drawing/2014/main" id="{C8667154-1C67-4006-B65F-B52DE5C5E96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51204" b="49903"/>
          <a:stretch/>
        </p:blipFill>
        <p:spPr>
          <a:xfrm>
            <a:off x="9721174" y="2088575"/>
            <a:ext cx="1460644" cy="1468456"/>
          </a:xfrm>
          <a:prstGeom prst="rect">
            <a:avLst/>
          </a:prstGeom>
        </p:spPr>
      </p:pic>
      <p:pic>
        <p:nvPicPr>
          <p:cNvPr id="26" name="Graphique 25">
            <a:extLst>
              <a:ext uri="{FF2B5EF4-FFF2-40B4-BE49-F238E27FC236}">
                <a16:creationId xmlns:a16="http://schemas.microsoft.com/office/drawing/2014/main" id="{4973589D-4DFE-4442-B3E2-AD0A8E350D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454" t="50819" r="52742" b="-211"/>
          <a:stretch/>
        </p:blipFill>
        <p:spPr>
          <a:xfrm>
            <a:off x="1718828" y="277290"/>
            <a:ext cx="1458133" cy="1447800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6B117A7A-D61F-4B80-BF7B-81CC3224EB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8811" y="1001190"/>
            <a:ext cx="3408696" cy="3310178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C1013F0-8C82-4CF8-9300-F28FCDF085D8}"/>
              </a:ext>
            </a:extLst>
          </p:cNvPr>
          <p:cNvSpPr/>
          <p:nvPr/>
        </p:nvSpPr>
        <p:spPr>
          <a:xfrm>
            <a:off x="8535750" y="1411828"/>
            <a:ext cx="18378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i="1" dirty="0">
                <a:solidFill>
                  <a:schemeClr val="accent4"/>
                </a:solidFill>
                <a:latin typeface="Montserrat Black" panose="00000A00000000000000" pitchFamily="50" charset="0"/>
              </a:rPr>
              <a:t>TEAM MEMBER….</a:t>
            </a:r>
            <a:endParaRPr lang="fr-FR" sz="2000" b="1" i="1" dirty="0">
              <a:solidFill>
                <a:schemeClr val="accent4"/>
              </a:solidFill>
              <a:latin typeface="Montserrat Black" panose="00000A00000000000000" pitchFamily="50" charset="0"/>
            </a:endParaRPr>
          </a:p>
        </p:txBody>
      </p:sp>
      <p:pic>
        <p:nvPicPr>
          <p:cNvPr id="34" name="Graphique 33">
            <a:extLst>
              <a:ext uri="{FF2B5EF4-FFF2-40B4-BE49-F238E27FC236}">
                <a16:creationId xmlns:a16="http://schemas.microsoft.com/office/drawing/2014/main" id="{36EDAEBC-A8FD-4164-874F-C438C44E05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1288" t="50608"/>
          <a:stretch/>
        </p:blipFill>
        <p:spPr>
          <a:xfrm>
            <a:off x="8696325" y="0"/>
            <a:ext cx="1458134" cy="1447800"/>
          </a:xfrm>
          <a:prstGeom prst="rect">
            <a:avLst/>
          </a:prstGeom>
        </p:spPr>
      </p:pic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6EED4E14-79A4-4DCB-995F-A7737F4E5AC1}"/>
              </a:ext>
            </a:extLst>
          </p:cNvPr>
          <p:cNvSpPr/>
          <p:nvPr/>
        </p:nvSpPr>
        <p:spPr>
          <a:xfrm>
            <a:off x="5981700" y="728321"/>
            <a:ext cx="2714625" cy="1100612"/>
          </a:xfrm>
          <a:custGeom>
            <a:avLst/>
            <a:gdLst>
              <a:gd name="connsiteX0" fmla="*/ 0 w 2714625"/>
              <a:gd name="connsiteY0" fmla="*/ 1100612 h 1100612"/>
              <a:gd name="connsiteX1" fmla="*/ 919163 w 2714625"/>
              <a:gd name="connsiteY1" fmla="*/ 157637 h 1100612"/>
              <a:gd name="connsiteX2" fmla="*/ 2714625 w 2714625"/>
              <a:gd name="connsiteY2" fmla="*/ 9999 h 1100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14625" h="1100612">
                <a:moveTo>
                  <a:pt x="0" y="1100612"/>
                </a:moveTo>
                <a:cubicBezTo>
                  <a:pt x="233363" y="720009"/>
                  <a:pt x="466726" y="339406"/>
                  <a:pt x="919163" y="157637"/>
                </a:cubicBezTo>
                <a:cubicBezTo>
                  <a:pt x="1371600" y="-24132"/>
                  <a:pt x="2043112" y="-7067"/>
                  <a:pt x="2714625" y="9999"/>
                </a:cubicBezTo>
              </a:path>
            </a:pathLst>
          </a:cu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2167B32E-131B-4643-9B05-3E53D5F219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02801" y="5762184"/>
            <a:ext cx="957886" cy="39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074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oneTexte 14">
            <a:extLst>
              <a:ext uri="{FF2B5EF4-FFF2-40B4-BE49-F238E27FC236}">
                <a16:creationId xmlns:a16="http://schemas.microsoft.com/office/drawing/2014/main" id="{51DC31E1-0F5C-4627-B405-B89D6563C2A3}"/>
              </a:ext>
            </a:extLst>
          </p:cNvPr>
          <p:cNvSpPr txBox="1"/>
          <p:nvPr/>
        </p:nvSpPr>
        <p:spPr>
          <a:xfrm>
            <a:off x="0" y="5949485"/>
            <a:ext cx="12255500" cy="923330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algn="l"/>
            <a:r>
              <a:rPr lang="en-US" dirty="0">
                <a:solidFill>
                  <a:srgbClr val="24292E"/>
                </a:solidFill>
                <a:latin typeface="Montserrat" panose="02000505000000020004" pitchFamily="2" charset="0"/>
              </a:rPr>
              <a:t>We </a:t>
            </a:r>
            <a:r>
              <a:rPr lang="en-US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aim to make contributing to Continuous Architecture Toolkit a pleasant and enriching experience for all participants, and </a:t>
            </a:r>
            <a:r>
              <a:rPr lang="en-US" b="0" i="0" dirty="0">
                <a:solidFill>
                  <a:schemeClr val="bg1"/>
                </a:solidFill>
                <a:effectLst/>
                <a:latin typeface="Montserrat Black" panose="00000A00000000000000" pitchFamily="50" charset="0"/>
              </a:rPr>
              <a:t>we welcome contributions of all kinds</a:t>
            </a:r>
            <a:r>
              <a:rPr lang="en-US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. Anyone can contribute to the project, regardless of their skills.</a:t>
            </a:r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2167B32E-131B-4643-9B05-3E53D5F219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97614" y="5438964"/>
            <a:ext cx="957886" cy="399511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D992F101-3C25-4CAA-80C4-684BD4E55A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721" y="254781"/>
            <a:ext cx="5206544" cy="4976798"/>
          </a:xfrm>
          <a:prstGeom prst="rect">
            <a:avLst/>
          </a:prstGeom>
        </p:spPr>
      </p:pic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328FBE40-71DA-4AC1-8163-E40E484A210C}"/>
              </a:ext>
            </a:extLst>
          </p:cNvPr>
          <p:cNvCxnSpPr/>
          <p:nvPr/>
        </p:nvCxnSpPr>
        <p:spPr>
          <a:xfrm flipV="1">
            <a:off x="8238671" y="704850"/>
            <a:ext cx="780594" cy="4826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FC57F6D4-0FFA-4E76-BC71-048252C2CE59}"/>
              </a:ext>
            </a:extLst>
          </p:cNvPr>
          <p:cNvCxnSpPr>
            <a:cxnSpLocks/>
          </p:cNvCxnSpPr>
          <p:nvPr/>
        </p:nvCxnSpPr>
        <p:spPr>
          <a:xfrm>
            <a:off x="9019265" y="704850"/>
            <a:ext cx="80690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5A8F81C1-1838-4AFC-9CA3-56D2919B9E3C}"/>
              </a:ext>
            </a:extLst>
          </p:cNvPr>
          <p:cNvCxnSpPr>
            <a:cxnSpLocks/>
          </p:cNvCxnSpPr>
          <p:nvPr/>
        </p:nvCxnSpPr>
        <p:spPr>
          <a:xfrm>
            <a:off x="8570686" y="3912036"/>
            <a:ext cx="776832" cy="56562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FDBDEE91-D4C1-48DF-8661-204788E4AABB}"/>
              </a:ext>
            </a:extLst>
          </p:cNvPr>
          <p:cNvCxnSpPr>
            <a:cxnSpLocks/>
          </p:cNvCxnSpPr>
          <p:nvPr/>
        </p:nvCxnSpPr>
        <p:spPr>
          <a:xfrm>
            <a:off x="3432628" y="1187450"/>
            <a:ext cx="637040" cy="54498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D4AE3FA3-A757-4A98-A1A7-0FF24511A723}"/>
              </a:ext>
            </a:extLst>
          </p:cNvPr>
          <p:cNvCxnSpPr>
            <a:cxnSpLocks/>
          </p:cNvCxnSpPr>
          <p:nvPr/>
        </p:nvCxnSpPr>
        <p:spPr>
          <a:xfrm>
            <a:off x="9347518" y="4477657"/>
            <a:ext cx="80690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785F9730-70EE-4D6A-8C7C-C0B94A2F25A9}"/>
              </a:ext>
            </a:extLst>
          </p:cNvPr>
          <p:cNvCxnSpPr>
            <a:cxnSpLocks/>
          </p:cNvCxnSpPr>
          <p:nvPr/>
        </p:nvCxnSpPr>
        <p:spPr>
          <a:xfrm>
            <a:off x="2625722" y="1187450"/>
            <a:ext cx="80690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3CDC8C1A-0CFC-4E89-8932-05A4468E0507}"/>
              </a:ext>
            </a:extLst>
          </p:cNvPr>
          <p:cNvCxnSpPr/>
          <p:nvPr/>
        </p:nvCxnSpPr>
        <p:spPr>
          <a:xfrm flipV="1">
            <a:off x="3984396" y="4745103"/>
            <a:ext cx="780594" cy="4826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FDB0819C-4635-4D5C-972D-053C7FFBA510}"/>
              </a:ext>
            </a:extLst>
          </p:cNvPr>
          <p:cNvCxnSpPr>
            <a:cxnSpLocks/>
          </p:cNvCxnSpPr>
          <p:nvPr/>
        </p:nvCxnSpPr>
        <p:spPr>
          <a:xfrm>
            <a:off x="3177490" y="5227703"/>
            <a:ext cx="80690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Picture 2" descr="Linkedin Logo : histoire, signification de l'emblème">
            <a:hlinkClick r:id="rId4"/>
            <a:extLst>
              <a:ext uri="{FF2B5EF4-FFF2-40B4-BE49-F238E27FC236}">
                <a16:creationId xmlns:a16="http://schemas.microsoft.com/office/drawing/2014/main" id="{477EBBB7-3828-4D97-9BB0-D78BA403FF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985" y="4932758"/>
            <a:ext cx="1021125" cy="57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hlinkClick r:id="rId6"/>
            <a:extLst>
              <a:ext uri="{FF2B5EF4-FFF2-40B4-BE49-F238E27FC236}">
                <a16:creationId xmlns:a16="http://schemas.microsoft.com/office/drawing/2014/main" id="{9D19B488-364F-4764-9A7B-0EF660680D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1991" y="4228210"/>
            <a:ext cx="1480456" cy="604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" descr="The 16 best startup logos in 2020 | Startup logo, Github logo, Logo design  creative">
            <a:hlinkClick r:id="rId6"/>
            <a:extLst>
              <a:ext uri="{FF2B5EF4-FFF2-40B4-BE49-F238E27FC236}">
                <a16:creationId xmlns:a16="http://schemas.microsoft.com/office/drawing/2014/main" id="{81DFB892-F3DF-43DA-910D-56105F26B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2242" y="513473"/>
            <a:ext cx="1263587" cy="946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 descr="The 16 best startup logos in 2020 | Startup logo, Github logo, Logo design  creative">
            <a:hlinkClick r:id="rId6"/>
            <a:extLst>
              <a:ext uri="{FF2B5EF4-FFF2-40B4-BE49-F238E27FC236}">
                <a16:creationId xmlns:a16="http://schemas.microsoft.com/office/drawing/2014/main" id="{83E5FFEF-0639-4C23-A1C1-8E16D16776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54424" y="239698"/>
            <a:ext cx="1263587" cy="946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C1E02D4A-5DC2-4D52-A9C7-CD51E22A0536}"/>
              </a:ext>
            </a:extLst>
          </p:cNvPr>
          <p:cNvSpPr txBox="1"/>
          <p:nvPr/>
        </p:nvSpPr>
        <p:spPr>
          <a:xfrm>
            <a:off x="10194556" y="994232"/>
            <a:ext cx="14662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Montserrat" panose="02000505000000020004" pitchFamily="2" charset="0"/>
              </a:rPr>
              <a:t>ACCESS TO ASSETS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CF46CE6E-650B-4855-A750-7EB621B27838}"/>
              </a:ext>
            </a:extLst>
          </p:cNvPr>
          <p:cNvSpPr txBox="1"/>
          <p:nvPr/>
        </p:nvSpPr>
        <p:spPr>
          <a:xfrm>
            <a:off x="8739288" y="4809647"/>
            <a:ext cx="35307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latin typeface="Montserrat" panose="02000505000000020004" pitchFamily="2" charset="0"/>
              </a:rPr>
              <a:t>WWW.CONTINUOUS.ARCHITECTURE.ORG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BE5C73A1-E853-4C4B-94E4-26DBA1E551ED}"/>
              </a:ext>
            </a:extLst>
          </p:cNvPr>
          <p:cNvSpPr txBox="1"/>
          <p:nvPr/>
        </p:nvSpPr>
        <p:spPr>
          <a:xfrm>
            <a:off x="529071" y="1469420"/>
            <a:ext cx="309360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Check out our </a:t>
            </a:r>
            <a:r>
              <a:rPr lang="en-US" b="0" i="0" u="none" strike="noStrike" dirty="0">
                <a:solidFill>
                  <a:srgbClr val="24292E"/>
                </a:solidFill>
                <a:effectLst/>
                <a:latin typeface="Montserrat" panose="02000505000000020004" pitchFamily="2" charset="0"/>
                <a:hlinkClick r:id="rId9"/>
              </a:rPr>
              <a:t>contribution guidelines</a:t>
            </a:r>
            <a:r>
              <a:rPr lang="en-US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 for information on how to get involved.</a:t>
            </a:r>
          </a:p>
        </p:txBody>
      </p:sp>
      <p:pic>
        <p:nvPicPr>
          <p:cNvPr id="48" name="Image 47">
            <a:extLst>
              <a:ext uri="{FF2B5EF4-FFF2-40B4-BE49-F238E27FC236}">
                <a16:creationId xmlns:a16="http://schemas.microsoft.com/office/drawing/2014/main" id="{C7BE4416-3A20-4B07-B7FA-C1948D3F9C2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56308" y="3616089"/>
            <a:ext cx="1142699" cy="112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99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0C22FB05-86A7-4DAA-89A9-FD58B9A6A0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530"/>
          <a:stretch/>
        </p:blipFill>
        <p:spPr>
          <a:xfrm>
            <a:off x="4143919" y="375520"/>
            <a:ext cx="5013036" cy="5184839"/>
          </a:xfrm>
          <a:prstGeom prst="ellipse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E1501325-EA2D-4DEE-914E-4E4BEE042825}"/>
              </a:ext>
            </a:extLst>
          </p:cNvPr>
          <p:cNvSpPr txBox="1"/>
          <p:nvPr/>
        </p:nvSpPr>
        <p:spPr>
          <a:xfrm>
            <a:off x="217714" y="2235688"/>
            <a:ext cx="410028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Thierry Fraudet (MICHELIN)</a:t>
            </a:r>
          </a:p>
          <a:p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Olivier Jauze (MICHELIN)</a:t>
            </a:r>
          </a:p>
          <a:p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Nicolas Chevalier (GLUENDO)</a:t>
            </a:r>
          </a:p>
          <a:p>
            <a:r>
              <a:rPr lang="fr-FR" sz="1400" b="1" dirty="0" err="1">
                <a:solidFill>
                  <a:schemeClr val="tx2"/>
                </a:solidFill>
                <a:latin typeface="Montserrat" panose="02000505000000020004" pitchFamily="2" charset="0"/>
              </a:rPr>
              <a:t>Jean-marc</a:t>
            </a:r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Montserrat" panose="02000505000000020004" pitchFamily="2" charset="0"/>
              </a:rPr>
              <a:t>Bunouf</a:t>
            </a:r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 (SOCIETE GENERALE)</a:t>
            </a:r>
          </a:p>
          <a:p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Jérémie Reignier (SOCIETE GENERALE)</a:t>
            </a:r>
          </a:p>
          <a:p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Jérémie Grodziski (ADIXE)</a:t>
            </a:r>
          </a:p>
          <a:p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Fréderic Le (DXC)</a:t>
            </a:r>
          </a:p>
          <a:p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Antoine </a:t>
            </a:r>
            <a:r>
              <a:rPr lang="fr-FR" sz="1400" b="1" dirty="0" err="1">
                <a:solidFill>
                  <a:schemeClr val="tx2"/>
                </a:solidFill>
                <a:latin typeface="Montserrat" panose="02000505000000020004" pitchFamily="2" charset="0"/>
              </a:rPr>
              <a:t>Lonjon</a:t>
            </a:r>
            <a:r>
              <a:rPr lang="fr-FR" sz="1400" b="1" dirty="0">
                <a:solidFill>
                  <a:schemeClr val="tx2"/>
                </a:solidFill>
                <a:latin typeface="Montserrat" panose="02000505000000020004" pitchFamily="2" charset="0"/>
              </a:rPr>
              <a:t> (MEGA)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9296000-C93A-46F8-BA73-03A51F37A2E8}"/>
              </a:ext>
            </a:extLst>
          </p:cNvPr>
          <p:cNvSpPr txBox="1"/>
          <p:nvPr/>
        </p:nvSpPr>
        <p:spPr>
          <a:xfrm>
            <a:off x="285581" y="1610607"/>
            <a:ext cx="178446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b="1" dirty="0" err="1">
                <a:solidFill>
                  <a:schemeClr val="tx2"/>
                </a:solidFill>
                <a:latin typeface="Montserrat Black" panose="00000A00000000000000" pitchFamily="50" charset="0"/>
              </a:rPr>
              <a:t>Maintainers</a:t>
            </a:r>
            <a:endParaRPr lang="fr-FR" sz="2000" b="1" dirty="0">
              <a:solidFill>
                <a:schemeClr val="tx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ABF7019-CD7F-4AA8-8D00-3464E482715E}"/>
              </a:ext>
            </a:extLst>
          </p:cNvPr>
          <p:cNvSpPr txBox="1"/>
          <p:nvPr/>
        </p:nvSpPr>
        <p:spPr>
          <a:xfrm>
            <a:off x="8982873" y="1226910"/>
            <a:ext cx="3078250" cy="32316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Continuous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architecture toolkit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was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initially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developed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by </a:t>
            </a:r>
            <a:r>
              <a:rPr lang="fr-FR" sz="1200" b="0" i="0" u="none" strike="noStrike" dirty="0">
                <a:solidFill>
                  <a:srgbClr val="24292E"/>
                </a:solidFill>
                <a:effectLst/>
                <a:latin typeface="Montserrat" panose="02000505000000020004" pitchFamily="2" charset="0"/>
                <a:hlinkClick r:id="rId3"/>
              </a:rPr>
              <a:t>Thierry Fraudet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 &amp; </a:t>
            </a:r>
            <a:r>
              <a:rPr lang="fr-FR" sz="1200" b="0" i="0" u="none" strike="noStrike" dirty="0">
                <a:solidFill>
                  <a:srgbClr val="24292E"/>
                </a:solidFill>
                <a:effectLst/>
                <a:latin typeface="Montserrat" panose="02000505000000020004" pitchFamily="2" charset="0"/>
                <a:hlinkClick r:id="rId4"/>
              </a:rPr>
              <a:t>Olivier Jauze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 from Michelin and by </a:t>
            </a:r>
            <a:r>
              <a:rPr lang="fr-FR" sz="1200" b="0" i="0" u="none" strike="noStrike" dirty="0">
                <a:solidFill>
                  <a:srgbClr val="24292E"/>
                </a:solidFill>
                <a:effectLst/>
                <a:latin typeface="Montserrat" panose="02000505000000020004" pitchFamily="2" charset="0"/>
                <a:hlinkClick r:id="rId5"/>
              </a:rPr>
              <a:t>Nicolas Chevalier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 from Gluendo to setup an agile architecture operating model and to support the Michelin digital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journey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.</a:t>
            </a:r>
          </a:p>
          <a:p>
            <a:pPr algn="just"/>
            <a:endParaRPr lang="fr-FR" sz="1200" b="0" i="0" dirty="0">
              <a:solidFill>
                <a:srgbClr val="24292E"/>
              </a:solidFill>
              <a:effectLst/>
              <a:latin typeface="Montserrat" panose="02000505000000020004" pitchFamily="2" charset="0"/>
            </a:endParaRPr>
          </a:p>
          <a:p>
            <a:pPr algn="just"/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They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were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quickly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joined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by a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small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group of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enthusiasts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from DXC, Société Générale and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others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sharing the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same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ideas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about the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evolution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of architecture in the world of information system design and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this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project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is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now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maintains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by the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following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</a:t>
            </a:r>
            <a:r>
              <a:rPr lang="fr-FR" sz="1200" b="0" i="0" dirty="0" err="1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core</a:t>
            </a:r>
            <a:r>
              <a:rPr lang="fr-FR" sz="1200" b="0" i="0" dirty="0">
                <a:solidFill>
                  <a:srgbClr val="24292E"/>
                </a:solidFill>
                <a:effectLst/>
                <a:latin typeface="Montserrat" panose="02000505000000020004" pitchFamily="2" charset="0"/>
              </a:rPr>
              <a:t> group of people.</a:t>
            </a:r>
          </a:p>
          <a:p>
            <a:pPr algn="just"/>
            <a:endParaRPr lang="fr-FR" sz="1200" b="0" i="0" dirty="0">
              <a:solidFill>
                <a:srgbClr val="24292E"/>
              </a:solidFill>
              <a:effectLst/>
              <a:latin typeface="Montserrat" panose="02000505000000020004" pitchFamily="2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9E9210AC-5CA0-4D40-99DC-A6777ECA46CE}"/>
              </a:ext>
            </a:extLst>
          </p:cNvPr>
          <p:cNvSpPr txBox="1"/>
          <p:nvPr/>
        </p:nvSpPr>
        <p:spPr>
          <a:xfrm>
            <a:off x="0" y="6211669"/>
            <a:ext cx="12255500" cy="646331"/>
          </a:xfrm>
          <a:prstGeom prst="rect">
            <a:avLst/>
          </a:prstGeom>
          <a:solidFill>
            <a:srgbClr val="6CC43E"/>
          </a:solidFill>
        </p:spPr>
        <p:txBody>
          <a:bodyPr wrap="square">
            <a:spAutoFit/>
          </a:bodyPr>
          <a:lstStyle/>
          <a:p>
            <a:pPr algn="l"/>
            <a:r>
              <a:rPr lang="en-US" dirty="0">
                <a:solidFill>
                  <a:srgbClr val="24292E"/>
                </a:solidFill>
                <a:latin typeface="Montserrat" panose="02000505000000020004" pitchFamily="2" charset="0"/>
              </a:rPr>
              <a:t>A group of maintainers to define the governance rules, ensure coherence within the different assets and validate the Toolkit content and enhancement.</a:t>
            </a:r>
            <a:endParaRPr lang="en-US" b="0" i="0" dirty="0">
              <a:solidFill>
                <a:srgbClr val="24292E"/>
              </a:solidFill>
              <a:effectLst/>
              <a:latin typeface="Montserrat" panose="02000505000000020004" pitchFamily="2" charset="0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71F241E0-CD22-48AE-9EC5-272E037493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34114" y="5717807"/>
            <a:ext cx="957886" cy="39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6304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4</Words>
  <Application>Microsoft Office PowerPoint</Application>
  <PresentationFormat>Grand écran</PresentationFormat>
  <Paragraphs>33</Paragraphs>
  <Slides>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21" baseType="lpstr">
      <vt:lpstr>Arial</vt:lpstr>
      <vt:lpstr>Bebas Neue</vt:lpstr>
      <vt:lpstr>Calibri</vt:lpstr>
      <vt:lpstr>Calibri Light</vt:lpstr>
      <vt:lpstr>Lucida Grande</vt:lpstr>
      <vt:lpstr>Michelin Black</vt:lpstr>
      <vt:lpstr>Michelin SemiBold</vt:lpstr>
      <vt:lpstr>Montserrat</vt:lpstr>
      <vt:lpstr>Montserrat Black</vt:lpstr>
      <vt:lpstr>Rounded Elegance</vt:lpstr>
      <vt:lpstr>Symbol</vt:lpstr>
      <vt:lpstr>Wingdings</vt:lpstr>
      <vt:lpstr>Thème Office</vt:lpstr>
      <vt:lpstr>CONTENU</vt:lpstr>
      <vt:lpstr>PRESENTATIONLOAD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runo Batisse</dc:creator>
  <cp:lastModifiedBy>nicolas chevalier</cp:lastModifiedBy>
  <cp:revision>27</cp:revision>
  <dcterms:created xsi:type="dcterms:W3CDTF">2019-10-17T23:11:51Z</dcterms:created>
  <dcterms:modified xsi:type="dcterms:W3CDTF">2021-02-03T14:15:17Z</dcterms:modified>
</cp:coreProperties>
</file>